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75" r:id="rId4"/>
  </p:sldMasterIdLst>
  <p:notesMasterIdLst>
    <p:notesMasterId r:id="rId16"/>
  </p:notesMasterIdLst>
  <p:handoutMasterIdLst>
    <p:handoutMasterId r:id="rId17"/>
  </p:handoutMasterIdLst>
  <p:sldIdLst>
    <p:sldId id="533" r:id="rId5"/>
    <p:sldId id="870" r:id="rId6"/>
    <p:sldId id="846" r:id="rId7"/>
    <p:sldId id="868" r:id="rId8"/>
    <p:sldId id="876" r:id="rId9"/>
    <p:sldId id="869" r:id="rId10"/>
    <p:sldId id="871" r:id="rId11"/>
    <p:sldId id="872" r:id="rId12"/>
    <p:sldId id="874" r:id="rId13"/>
    <p:sldId id="873" r:id="rId14"/>
    <p:sldId id="867" r:id="rId15"/>
  </p:sldIdLst>
  <p:sldSz cx="12192000" cy="6858000"/>
  <p:notesSz cx="9926638" cy="6797675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CABB810-49A9-184E-D709-5686371A7706}" name="Sarabjit Singh Chadha" initials="SSC" userId="S::Sarabjit.Chadha@finddx.org::a7e2896c-c10b-4d5a-a518-22b7063b46fa" providerId="AD"/>
  <p188:author id="{12682632-A016-E4B1-8DFD-2D029988CF30}" name="Sikha Panda" initials="SP" userId="S::Sikha.Panda@finddx.org::8ffbd656-6f06-482d-84fc-dc7162f905cc" providerId="AD"/>
  <p188:author id="{538C253F-5209-0BF5-4DBE-7C874D562797}" name="Shubhada Shenai" initials="SS" userId="S::Shubhada.Shenai@finddx.org::9076908a-6e99-4edd-80de-1f7b5187c2d4" providerId="AD"/>
  <p188:author id="{AB5A2EB2-9B8B-EC45-695E-40A4F5FCB783}" name="Pooja Srivastava" initials="PS" userId="S::Pooja.Srivastava@finddx.org::cef25191-5c21-41d5-bd8b-3c30417c0004" providerId="AD"/>
  <p188:author id="{666037CE-2BC8-103B-9115-CB3CADCBDE30}" name="Tarak GShah" initials="TG" userId="S::Tarak.GShah@finddx.org::0efee70e-6e36-46a2-be46-607be09e541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uihaume, Tiphaine" initials="GT" lastIdx="1" clrIdx="0">
    <p:extLst>
      <p:ext uri="{19B8F6BF-5375-455C-9EA6-DF929625EA0E}">
        <p15:presenceInfo xmlns:p15="http://schemas.microsoft.com/office/powerpoint/2012/main" userId="Guihaume, Tiphaine" providerId="None"/>
      </p:ext>
    </p:extLst>
  </p:cmAuthor>
  <p:cmAuthor id="2" name="Morten Ruhwald" initials="MR" lastIdx="2" clrIdx="1">
    <p:extLst>
      <p:ext uri="{19B8F6BF-5375-455C-9EA6-DF929625EA0E}">
        <p15:presenceInfo xmlns:p15="http://schemas.microsoft.com/office/powerpoint/2012/main" userId="Morten Ruhwald" providerId="None"/>
      </p:ext>
    </p:extLst>
  </p:cmAuthor>
  <p:cmAuthor id="3" name="Sarah Nogaro" initials="SN" lastIdx="31" clrIdx="2">
    <p:extLst>
      <p:ext uri="{19B8F6BF-5375-455C-9EA6-DF929625EA0E}">
        <p15:presenceInfo xmlns:p15="http://schemas.microsoft.com/office/powerpoint/2012/main" userId="S::Sarah.Nogaro@finddx.org::cad2f3ff-81c2-49d3-9bee-4c5d604850df" providerId="AD"/>
      </p:ext>
    </p:extLst>
  </p:cmAuthor>
  <p:cmAuthor id="4" name="Dziedzom Komi DE SOUZA" initials="DKDS" lastIdx="5" clrIdx="3">
    <p:extLst>
      <p:ext uri="{19B8F6BF-5375-455C-9EA6-DF929625EA0E}">
        <p15:presenceInfo xmlns:p15="http://schemas.microsoft.com/office/powerpoint/2012/main" userId="S::DziedzomKomi.DESOUZA@Finddx.org::7ac39cd6-5acb-435a-9f04-fb1043c5a2a2" providerId="AD"/>
      </p:ext>
    </p:extLst>
  </p:cmAuthor>
  <p:cmAuthor id="5" name="Tatiana Letsko" initials="TL" lastIdx="1" clrIdx="4">
    <p:extLst>
      <p:ext uri="{19B8F6BF-5375-455C-9EA6-DF929625EA0E}">
        <p15:presenceInfo xmlns:p15="http://schemas.microsoft.com/office/powerpoint/2012/main" userId="S::Tatiana.Letsko@Finddx.org::a6cb2b95-6f96-4c98-bbb5-ef102aa349fb" providerId="AD"/>
      </p:ext>
    </p:extLst>
  </p:cmAuthor>
  <p:cmAuthor id="6" name="Sylvain Bieler" initials="SB" lastIdx="3" clrIdx="5">
    <p:extLst>
      <p:ext uri="{19B8F6BF-5375-455C-9EA6-DF929625EA0E}">
        <p15:presenceInfo xmlns:p15="http://schemas.microsoft.com/office/powerpoint/2012/main" userId="S::Sylvain.Bieler@finddx.org::a37712c3-e8a0-4e16-8c22-5fd8fb779163" providerId="AD"/>
      </p:ext>
    </p:extLst>
  </p:cmAuthor>
  <p:cmAuthor id="7" name="Albert Picado De Puig" initials="APDP" lastIdx="3" clrIdx="6">
    <p:extLst>
      <p:ext uri="{19B8F6BF-5375-455C-9EA6-DF929625EA0E}">
        <p15:presenceInfo xmlns:p15="http://schemas.microsoft.com/office/powerpoint/2012/main" userId="S-1-5-21-758399636-2987204155-3505288178-4660" providerId="AD"/>
      </p:ext>
    </p:extLst>
  </p:cmAuthor>
  <p:cmAuthor id="8" name="Maël Redard" initials="MR" lastIdx="1" clrIdx="7">
    <p:extLst>
      <p:ext uri="{19B8F6BF-5375-455C-9EA6-DF929625EA0E}">
        <p15:presenceInfo xmlns:p15="http://schemas.microsoft.com/office/powerpoint/2012/main" userId="S::Mael.Redard@finddx.org::c2364de1-a1f0-490d-8ae0-9c9d5b5f0ba6" providerId="AD"/>
      </p:ext>
    </p:extLst>
  </p:cmAuthor>
  <p:cmAuthor id="9" name="Albert" initials="A" lastIdx="3" clrIdx="8">
    <p:extLst>
      <p:ext uri="{19B8F6BF-5375-455C-9EA6-DF929625EA0E}">
        <p15:presenceInfo xmlns:p15="http://schemas.microsoft.com/office/powerpoint/2012/main" userId="Albert" providerId="None"/>
      </p:ext>
    </p:extLst>
  </p:cmAuthor>
  <p:cmAuthor id="10" name="Joseph Ndungu" initials="JN" lastIdx="5" clrIdx="9">
    <p:extLst>
      <p:ext uri="{19B8F6BF-5375-455C-9EA6-DF929625EA0E}">
        <p15:presenceInfo xmlns:p15="http://schemas.microsoft.com/office/powerpoint/2012/main" userId="S::Joseph.Ndungu@finddx.org::ca0ea31a-dc60-4871-a047-a769c4ef740e" providerId="AD"/>
      </p:ext>
    </p:extLst>
  </p:cmAuthor>
  <p:cmAuthor id="11" name="PORE, Meenal" initials="PM" lastIdx="4" clrIdx="10">
    <p:extLst>
      <p:ext uri="{19B8F6BF-5375-455C-9EA6-DF929625EA0E}">
        <p15:presenceInfo xmlns:p15="http://schemas.microsoft.com/office/powerpoint/2012/main" userId="PORE, Meenal" providerId="None"/>
      </p:ext>
    </p:extLst>
  </p:cmAuthor>
  <p:cmAuthor id="12" name="Sarah-Jane Loveday" initials="SJL" lastIdx="13" clrIdx="11">
    <p:extLst>
      <p:ext uri="{19B8F6BF-5375-455C-9EA6-DF929625EA0E}">
        <p15:presenceInfo xmlns:p15="http://schemas.microsoft.com/office/powerpoint/2012/main" userId="S::Sarah-Jane.Loveday@finddx.org::38f1dcbf-72cf-4a61-820e-24f00c15d838" providerId="AD"/>
      </p:ext>
    </p:extLst>
  </p:cmAuthor>
  <p:cmAuthor id="13" name="Shubhada Shenai" initials="SS" lastIdx="1" clrIdx="12">
    <p:extLst>
      <p:ext uri="{19B8F6BF-5375-455C-9EA6-DF929625EA0E}">
        <p15:presenceInfo xmlns:p15="http://schemas.microsoft.com/office/powerpoint/2012/main" userId="S::Shubhada.Shenai@finddx.org::9076908a-6e99-4edd-80de-1f7b5187c2d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93F47"/>
    <a:srgbClr val="FFFF00"/>
    <a:srgbClr val="6AC534"/>
    <a:srgbClr val="F2F2F2"/>
    <a:srgbClr val="F79646"/>
    <a:srgbClr val="43ABB6"/>
    <a:srgbClr val="955895"/>
    <a:srgbClr val="FFC000"/>
    <a:srgbClr val="00B0F0"/>
    <a:srgbClr val="FFC0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C644A9E-FAA3-47E9-AF28-69CDA6C7352B}" v="201" dt="2024-12-09T16:54:12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21" autoAdjust="0"/>
    <p:restoredTop sz="93522" autoAdjust="0"/>
  </p:normalViewPr>
  <p:slideViewPr>
    <p:cSldViewPr snapToGrid="0">
      <p:cViewPr varScale="1">
        <p:scale>
          <a:sx n="65" d="100"/>
          <a:sy n="65" d="100"/>
        </p:scale>
        <p:origin x="1056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99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>
      <p:cViewPr varScale="1">
        <p:scale>
          <a:sx n="112" d="100"/>
          <a:sy n="112" d="100"/>
        </p:scale>
        <p:origin x="2142" y="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ipra Bhargava" userId="4615a55c-5417-4faa-87cc-e913db48358f" providerId="ADAL" clId="{2C644A9E-FAA3-47E9-AF28-69CDA6C7352B}"/>
    <pc:docChg chg="custSel delSld modSld">
      <pc:chgData name="Shipra Bhargava" userId="4615a55c-5417-4faa-87cc-e913db48358f" providerId="ADAL" clId="{2C644A9E-FAA3-47E9-AF28-69CDA6C7352B}" dt="2024-12-10T01:14:14.953" v="286" actId="1035"/>
      <pc:docMkLst>
        <pc:docMk/>
      </pc:docMkLst>
      <pc:sldChg chg="modSp mod">
        <pc:chgData name="Shipra Bhargava" userId="4615a55c-5417-4faa-87cc-e913db48358f" providerId="ADAL" clId="{2C644A9E-FAA3-47E9-AF28-69CDA6C7352B}" dt="2024-12-10T01:14:14.953" v="286" actId="1035"/>
        <pc:sldMkLst>
          <pc:docMk/>
          <pc:sldMk cId="1630304496" sldId="869"/>
        </pc:sldMkLst>
        <pc:spChg chg="mod">
          <ac:chgData name="Shipra Bhargava" userId="4615a55c-5417-4faa-87cc-e913db48358f" providerId="ADAL" clId="{2C644A9E-FAA3-47E9-AF28-69CDA6C7352B}" dt="2024-12-09T16:50:26.292" v="48" actId="27636"/>
          <ac:spMkLst>
            <pc:docMk/>
            <pc:sldMk cId="1630304496" sldId="869"/>
            <ac:spMk id="2" creationId="{7EBA3D8F-F5F3-1428-51DF-F866DB1153FF}"/>
          </ac:spMkLst>
        </pc:spChg>
        <pc:spChg chg="mod">
          <ac:chgData name="Shipra Bhargava" userId="4615a55c-5417-4faa-87cc-e913db48358f" providerId="ADAL" clId="{2C644A9E-FAA3-47E9-AF28-69CDA6C7352B}" dt="2024-12-10T01:14:14.953" v="286" actId="1035"/>
          <ac:spMkLst>
            <pc:docMk/>
            <pc:sldMk cId="1630304496" sldId="869"/>
            <ac:spMk id="3" creationId="{B71E8631-2ED7-EAA1-9F91-80F040DA4E4D}"/>
          </ac:spMkLst>
        </pc:spChg>
      </pc:sldChg>
      <pc:sldChg chg="modSp mod">
        <pc:chgData name="Shipra Bhargava" userId="4615a55c-5417-4faa-87cc-e913db48358f" providerId="ADAL" clId="{2C644A9E-FAA3-47E9-AF28-69CDA6C7352B}" dt="2024-12-10T01:12:03.575" v="278" actId="255"/>
        <pc:sldMkLst>
          <pc:docMk/>
          <pc:sldMk cId="2414469323" sldId="870"/>
        </pc:sldMkLst>
        <pc:spChg chg="mod">
          <ac:chgData name="Shipra Bhargava" userId="4615a55c-5417-4faa-87cc-e913db48358f" providerId="ADAL" clId="{2C644A9E-FAA3-47E9-AF28-69CDA6C7352B}" dt="2024-12-10T01:12:03.575" v="278" actId="255"/>
          <ac:spMkLst>
            <pc:docMk/>
            <pc:sldMk cId="2414469323" sldId="870"/>
            <ac:spMk id="5" creationId="{4C68A92D-FC7A-2588-A335-296753518F51}"/>
          </ac:spMkLst>
        </pc:spChg>
      </pc:sldChg>
      <pc:sldChg chg="modSp">
        <pc:chgData name="Shipra Bhargava" userId="4615a55c-5417-4faa-87cc-e913db48358f" providerId="ADAL" clId="{2C644A9E-FAA3-47E9-AF28-69CDA6C7352B}" dt="2024-12-09T16:54:12.829" v="249" actId="313"/>
        <pc:sldMkLst>
          <pc:docMk/>
          <pc:sldMk cId="998382277" sldId="874"/>
        </pc:sldMkLst>
        <pc:graphicFrameChg chg="mod">
          <ac:chgData name="Shipra Bhargava" userId="4615a55c-5417-4faa-87cc-e913db48358f" providerId="ADAL" clId="{2C644A9E-FAA3-47E9-AF28-69CDA6C7352B}" dt="2024-12-09T16:54:12.829" v="249" actId="313"/>
          <ac:graphicFrameMkLst>
            <pc:docMk/>
            <pc:sldMk cId="998382277" sldId="874"/>
            <ac:graphicFrameMk id="2" creationId="{C93F327F-6469-3974-FCCB-3091FC620096}"/>
          </ac:graphicFrameMkLst>
        </pc:graphicFrameChg>
      </pc:sldChg>
      <pc:sldChg chg="del">
        <pc:chgData name="Shipra Bhargava" userId="4615a55c-5417-4faa-87cc-e913db48358f" providerId="ADAL" clId="{2C644A9E-FAA3-47E9-AF28-69CDA6C7352B}" dt="2024-12-09T16:54:47.198" v="250" actId="47"/>
        <pc:sldMkLst>
          <pc:docMk/>
          <pc:sldMk cId="1758604498" sldId="875"/>
        </pc:sldMkLst>
      </pc:sldChg>
      <pc:sldChg chg="modSp mod">
        <pc:chgData name="Shipra Bhargava" userId="4615a55c-5417-4faa-87cc-e913db48358f" providerId="ADAL" clId="{2C644A9E-FAA3-47E9-AF28-69CDA6C7352B}" dt="2024-12-09T16:49:49.478" v="46" actId="20577"/>
        <pc:sldMkLst>
          <pc:docMk/>
          <pc:sldMk cId="622860034" sldId="876"/>
        </pc:sldMkLst>
        <pc:spChg chg="mod">
          <ac:chgData name="Shipra Bhargava" userId="4615a55c-5417-4faa-87cc-e913db48358f" providerId="ADAL" clId="{2C644A9E-FAA3-47E9-AF28-69CDA6C7352B}" dt="2024-12-09T16:49:49.478" v="46" actId="20577"/>
          <ac:spMkLst>
            <pc:docMk/>
            <pc:sldMk cId="622860034" sldId="876"/>
            <ac:spMk id="7" creationId="{400632B2-3CA9-0923-0A6D-3EC367A0B19C}"/>
          </ac:spMkLst>
        </pc:spChg>
      </pc:sldChg>
    </pc:docChg>
  </pc:docChgLst>
  <pc:docChgLst>
    <pc:chgData name="Vidya Nidhi" userId="0b6ccc11-e41c-42f4-b6aa-14c6bcf23a0e" providerId="ADAL" clId="{41AABC0C-C476-4ABC-8BA8-827896A07BC0}"/>
    <pc:docChg chg="modSld">
      <pc:chgData name="Vidya Nidhi" userId="0b6ccc11-e41c-42f4-b6aa-14c6bcf23a0e" providerId="ADAL" clId="{41AABC0C-C476-4ABC-8BA8-827896A07BC0}" dt="2024-12-07T16:56:55.733" v="25" actId="20577"/>
      <pc:docMkLst>
        <pc:docMk/>
      </pc:docMkLst>
      <pc:sldChg chg="modSp mod">
        <pc:chgData name="Vidya Nidhi" userId="0b6ccc11-e41c-42f4-b6aa-14c6bcf23a0e" providerId="ADAL" clId="{41AABC0C-C476-4ABC-8BA8-827896A07BC0}" dt="2024-12-07T16:56:55.733" v="25" actId="20577"/>
        <pc:sldMkLst>
          <pc:docMk/>
          <pc:sldMk cId="1758604498" sldId="875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514E8A7-9E07-4EED-A829-E87BABB862C2}" type="doc">
      <dgm:prSet loTypeId="urn:microsoft.com/office/officeart/2005/8/layout/cycle6" loCatId="relationship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A3047B97-D45B-4DF3-9723-1C16CB06EB96}">
      <dgm:prSet phldrT="[Text]" custT="1"/>
      <dgm:spPr/>
      <dgm:t>
        <a:bodyPr/>
        <a:lstStyle/>
        <a:p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Manufacturing and </a:t>
          </a:r>
        </a:p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Panel Validation and verification</a:t>
          </a:r>
        </a:p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gm:t>
    </dgm:pt>
    <dgm:pt modelId="{43F14423-BFA7-41FE-8810-6A7EFCB754A1}" type="parTrans" cxnId="{8FDAB979-380F-4C43-832E-530B94B366B7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D48B690-3156-4995-B756-0447AAC2B587}" type="sibTrans" cxnId="{8FDAB979-380F-4C43-832E-530B94B366B7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D92E3F8-CFC8-406A-8E31-4D038E0514AC}">
      <dgm:prSet phldrT="[Text]" custT="1"/>
      <dgm:spPr/>
      <dgm:t>
        <a:bodyPr/>
        <a:lstStyle/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Packaging and shipment</a:t>
          </a:r>
        </a:p>
      </dgm:t>
    </dgm:pt>
    <dgm:pt modelId="{DFDFA91C-9301-4BC9-B9BE-28290DC0A6B3}" type="parTrans" cxnId="{705315BB-552E-4030-A1CE-F61352403F2C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2719B88-C7EE-4230-B2F5-67FDB855F795}" type="sibTrans" cxnId="{705315BB-552E-4030-A1CE-F61352403F2C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B539926-EFA5-4825-8F8E-26C3CD7F42B4}">
      <dgm:prSet phldrT="[Text]" custT="1"/>
      <dgm:spPr/>
      <dgm:t>
        <a:bodyPr/>
        <a:lstStyle/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Feedback report to the sites &amp; respective division &amp; RTRL &amp; NTP</a:t>
          </a:r>
        </a:p>
      </dgm:t>
    </dgm:pt>
    <dgm:pt modelId="{A2329223-104F-4343-AEE3-289A80DA76F9}" type="parTrans" cxnId="{18567D02-D9B6-4A04-875B-AA85809D9F86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10F69B9-9CD3-4755-B08E-2FBF430D5343}" type="sibTrans" cxnId="{18567D02-D9B6-4A04-875B-AA85809D9F86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4E04F17-13D3-47A1-AF68-F2B49ED42F3D}">
      <dgm:prSet custT="1"/>
      <dgm:spPr/>
      <dgm:t>
        <a:bodyPr/>
        <a:lstStyle/>
        <a:p>
          <a:r>
            <a:rPr lang="en-US" sz="1800" b="1">
              <a:latin typeface="Arial" panose="020B0604020202020204" pitchFamily="34" charset="0"/>
              <a:cs typeface="Arial" panose="020B0604020202020204" pitchFamily="34" charset="0"/>
            </a:rPr>
            <a:t>Collection, Compilation and data analysis</a:t>
          </a:r>
          <a:endParaRPr lang="en-U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05EB064-0E26-4A0C-8B90-BDE934EEEF8D}" type="parTrans" cxnId="{9169716A-59D9-493E-A204-3F8DCB15AF4A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EDDEE1-7AA2-4880-A271-B7E73EE1F056}" type="sibTrans" cxnId="{9169716A-59D9-493E-A204-3F8DCB15AF4A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019111-B353-488F-BBF0-0F74E8CBECEC}">
      <dgm:prSet custT="1"/>
      <dgm:spPr/>
      <dgm:t>
        <a:bodyPr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ost EQA visits and action taken report submission to NTP and Divisions</a:t>
          </a:r>
        </a:p>
      </dgm:t>
    </dgm:pt>
    <dgm:pt modelId="{28549921-8101-411F-A652-4365FB02DB93}" type="parTrans" cxnId="{64615703-3B13-4ED9-81A4-F2B6CA1315A0}">
      <dgm:prSet/>
      <dgm:spPr/>
      <dgm:t>
        <a:bodyPr/>
        <a:lstStyle/>
        <a:p>
          <a:endParaRPr lang="en-US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CC05AF6-166E-4F57-A0B3-6E67F6343D75}" type="sibTrans" cxnId="{64615703-3B13-4ED9-81A4-F2B6CA1315A0}">
      <dgm:prSet/>
      <dgm:spPr/>
      <dgm:t>
        <a:bodyPr/>
        <a:lstStyle/>
        <a:p>
          <a:endParaRPr lang="en-US" sz="18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E64FAB2-7826-4259-8C56-BD3E89799CDA}">
      <dgm:prSet/>
      <dgm:spPr/>
      <dgm:t>
        <a:bodyPr/>
        <a:lstStyle/>
        <a:p>
          <a:pPr>
            <a:lnSpc>
              <a:spcPct val="100000"/>
            </a:lnSpc>
          </a:pPr>
          <a:r>
            <a:rPr lang="en-IN" b="1" dirty="0">
              <a:solidFill>
                <a:srgbClr val="FF0000"/>
              </a:solidFill>
            </a:rPr>
            <a:t>Testing panel &amp; Reporting</a:t>
          </a:r>
        </a:p>
      </dgm:t>
    </dgm:pt>
    <dgm:pt modelId="{D6CEC854-80CA-4736-8A35-8DEB87DCB914}" type="parTrans" cxnId="{CD6EA07F-7C52-4A94-A2F6-9E0EF1C3ACEC}">
      <dgm:prSet/>
      <dgm:spPr/>
      <dgm:t>
        <a:bodyPr/>
        <a:lstStyle/>
        <a:p>
          <a:endParaRPr lang="en-IN"/>
        </a:p>
      </dgm:t>
    </dgm:pt>
    <dgm:pt modelId="{58A16DDF-F580-44B0-9024-0268C29D0C5C}" type="sibTrans" cxnId="{CD6EA07F-7C52-4A94-A2F6-9E0EF1C3ACEC}">
      <dgm:prSet/>
      <dgm:spPr/>
      <dgm:t>
        <a:bodyPr/>
        <a:lstStyle/>
        <a:p>
          <a:pPr>
            <a:lnSpc>
              <a:spcPct val="100000"/>
            </a:lnSpc>
          </a:pPr>
          <a:endParaRPr lang="en-IN"/>
        </a:p>
      </dgm:t>
    </dgm:pt>
    <dgm:pt modelId="{536E0915-BD5A-45D5-BC20-EED8956FF292}">
      <dgm:prSet custT="1"/>
      <dgm:spPr/>
      <dgm:t>
        <a:bodyPr/>
        <a:lstStyle/>
        <a:p>
          <a:r>
            <a:rPr lang="en-US" sz="1600" b="1" dirty="0">
              <a:latin typeface="Arial" panose="020B0604020202020204" pitchFamily="34" charset="0"/>
              <a:cs typeface="Arial" panose="020B0604020202020204" pitchFamily="34" charset="0"/>
            </a:rPr>
            <a:t>Collection of site contact  information (address/phone) &amp; Registration in EQA portal </a:t>
          </a:r>
        </a:p>
      </dgm:t>
    </dgm:pt>
    <dgm:pt modelId="{D4278022-F8F7-480D-B47B-FE7054132C75}" type="parTrans" cxnId="{F2FCFEBE-AF73-4825-B0F0-79C044757907}">
      <dgm:prSet/>
      <dgm:spPr/>
      <dgm:t>
        <a:bodyPr/>
        <a:lstStyle/>
        <a:p>
          <a:endParaRPr lang="en-US"/>
        </a:p>
      </dgm:t>
    </dgm:pt>
    <dgm:pt modelId="{78BAEFDE-95B0-4B87-9283-049540F90B27}" type="sibTrans" cxnId="{F2FCFEBE-AF73-4825-B0F0-79C044757907}">
      <dgm:prSet/>
      <dgm:spPr/>
      <dgm:t>
        <a:bodyPr/>
        <a:lstStyle/>
        <a:p>
          <a:endParaRPr lang="en-US"/>
        </a:p>
      </dgm:t>
    </dgm:pt>
    <dgm:pt modelId="{5D098912-42AB-4A21-BC8D-33A0A690E280}">
      <dgm:prSet custT="1"/>
      <dgm:spPr/>
      <dgm:t>
        <a:bodyPr/>
        <a:lstStyle/>
        <a:p>
          <a:r>
            <a:rPr lang="en-US" sz="1800" b="1" dirty="0">
              <a:latin typeface="Arial" panose="020B0604020202020204" pitchFamily="34" charset="0"/>
              <a:cs typeface="Arial" panose="020B0604020202020204" pitchFamily="34" charset="0"/>
            </a:rPr>
            <a:t>mWRD EQA orientation &amp; Cascade trainings</a:t>
          </a:r>
        </a:p>
      </dgm:t>
    </dgm:pt>
    <dgm:pt modelId="{447BB42D-42B3-495B-8065-B831BED9122E}" type="sibTrans" cxnId="{494E36A8-BC53-4137-9B99-7DB91163B619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99A9B31-A951-4BF1-9AD9-4BBD9A1858D6}" type="parTrans" cxnId="{494E36A8-BC53-4137-9B99-7DB91163B619}">
      <dgm:prSet/>
      <dgm:spPr/>
      <dgm:t>
        <a:bodyPr/>
        <a:lstStyle/>
        <a:p>
          <a:endParaRPr lang="en-US" sz="18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85A5B1-0AF3-4475-8D8D-DABA7A0DCF0F}" type="pres">
      <dgm:prSet presAssocID="{3514E8A7-9E07-4EED-A829-E87BABB862C2}" presName="cycle" presStyleCnt="0">
        <dgm:presLayoutVars>
          <dgm:dir/>
          <dgm:resizeHandles val="exact"/>
        </dgm:presLayoutVars>
      </dgm:prSet>
      <dgm:spPr/>
    </dgm:pt>
    <dgm:pt modelId="{2F538F2E-0ADD-4E6B-8F47-B32C0A1360EB}" type="pres">
      <dgm:prSet presAssocID="{A3047B97-D45B-4DF3-9723-1C16CB06EB96}" presName="node" presStyleLbl="node1" presStyleIdx="0" presStyleCnt="8" custScaleX="398006">
        <dgm:presLayoutVars>
          <dgm:bulletEnabled val="1"/>
        </dgm:presLayoutVars>
      </dgm:prSet>
      <dgm:spPr/>
    </dgm:pt>
    <dgm:pt modelId="{3E0C8FF2-AE5F-47F0-8521-DC54BF12F140}" type="pres">
      <dgm:prSet presAssocID="{A3047B97-D45B-4DF3-9723-1C16CB06EB96}" presName="spNode" presStyleCnt="0"/>
      <dgm:spPr/>
    </dgm:pt>
    <dgm:pt modelId="{FFA0BD52-444F-4685-A1CD-799B60EA09CC}" type="pres">
      <dgm:prSet presAssocID="{3D48B690-3156-4995-B756-0447AAC2B587}" presName="sibTrans" presStyleLbl="sibTrans1D1" presStyleIdx="0" presStyleCnt="8"/>
      <dgm:spPr/>
    </dgm:pt>
    <dgm:pt modelId="{F326E9FE-46C7-4E85-8433-EFADB117CC6F}" type="pres">
      <dgm:prSet presAssocID="{5D098912-42AB-4A21-BC8D-33A0A690E280}" presName="node" presStyleLbl="node1" presStyleIdx="1" presStyleCnt="8" custScaleX="342785" custRadScaleRad="102555" custRadScaleInc="86512">
        <dgm:presLayoutVars>
          <dgm:bulletEnabled val="1"/>
        </dgm:presLayoutVars>
      </dgm:prSet>
      <dgm:spPr/>
    </dgm:pt>
    <dgm:pt modelId="{B41032DC-5D49-4A0A-B0D2-F82D091E21EC}" type="pres">
      <dgm:prSet presAssocID="{5D098912-42AB-4A21-BC8D-33A0A690E280}" presName="spNode" presStyleCnt="0"/>
      <dgm:spPr/>
    </dgm:pt>
    <dgm:pt modelId="{928461FD-154E-473B-85F7-9AC62B237C9A}" type="pres">
      <dgm:prSet presAssocID="{447BB42D-42B3-495B-8065-B831BED9122E}" presName="sibTrans" presStyleLbl="sibTrans1D1" presStyleIdx="1" presStyleCnt="8"/>
      <dgm:spPr/>
    </dgm:pt>
    <dgm:pt modelId="{896D9217-CD02-4790-96D7-568A5702D3ED}" type="pres">
      <dgm:prSet presAssocID="{536E0915-BD5A-45D5-BC20-EED8956FF292}" presName="node" presStyleLbl="node1" presStyleIdx="2" presStyleCnt="8" custScaleX="342785" custRadScaleRad="103762" custRadScaleInc="18395">
        <dgm:presLayoutVars>
          <dgm:bulletEnabled val="1"/>
        </dgm:presLayoutVars>
      </dgm:prSet>
      <dgm:spPr/>
    </dgm:pt>
    <dgm:pt modelId="{96702D02-3B49-40B8-B2F6-6E75A69D81B0}" type="pres">
      <dgm:prSet presAssocID="{536E0915-BD5A-45D5-BC20-EED8956FF292}" presName="spNode" presStyleCnt="0"/>
      <dgm:spPr/>
    </dgm:pt>
    <dgm:pt modelId="{E829F808-6940-4B38-9488-2920A36B5628}" type="pres">
      <dgm:prSet presAssocID="{78BAEFDE-95B0-4B87-9283-049540F90B27}" presName="sibTrans" presStyleLbl="sibTrans1D1" presStyleIdx="2" presStyleCnt="8"/>
      <dgm:spPr/>
    </dgm:pt>
    <dgm:pt modelId="{1A1E9F0C-64A2-4152-9E84-F9B435AB8E92}" type="pres">
      <dgm:prSet presAssocID="{1D92E3F8-CFC8-406A-8E31-4D038E0514AC}" presName="node" presStyleLbl="node1" presStyleIdx="3" presStyleCnt="8" custScaleX="320878" custRadScaleRad="103046" custRadScaleInc="-63032">
        <dgm:presLayoutVars>
          <dgm:bulletEnabled val="1"/>
        </dgm:presLayoutVars>
      </dgm:prSet>
      <dgm:spPr/>
    </dgm:pt>
    <dgm:pt modelId="{80109C2E-070D-4338-8133-3987400031A7}" type="pres">
      <dgm:prSet presAssocID="{1D92E3F8-CFC8-406A-8E31-4D038E0514AC}" presName="spNode" presStyleCnt="0"/>
      <dgm:spPr/>
    </dgm:pt>
    <dgm:pt modelId="{2EFD55E0-0B97-4BBC-B79D-51EF54B712EA}" type="pres">
      <dgm:prSet presAssocID="{F2719B88-C7EE-4230-B2F5-67FDB855F795}" presName="sibTrans" presStyleLbl="sibTrans1D1" presStyleIdx="3" presStyleCnt="8"/>
      <dgm:spPr/>
    </dgm:pt>
    <dgm:pt modelId="{0711204A-3EED-407B-96CF-75A2453CAE5B}" type="pres">
      <dgm:prSet presAssocID="{0E64FAB2-7826-4259-8C56-BD3E89799CDA}" presName="node" presStyleLbl="node1" presStyleIdx="4" presStyleCnt="8" custScaleX="187231" custRadScaleRad="100122" custRadScaleInc="1176">
        <dgm:presLayoutVars>
          <dgm:bulletEnabled val="1"/>
        </dgm:presLayoutVars>
      </dgm:prSet>
      <dgm:spPr/>
    </dgm:pt>
    <dgm:pt modelId="{915A8649-176C-4E62-B64B-11F26CE811A1}" type="pres">
      <dgm:prSet presAssocID="{0E64FAB2-7826-4259-8C56-BD3E89799CDA}" presName="spNode" presStyleCnt="0"/>
      <dgm:spPr/>
    </dgm:pt>
    <dgm:pt modelId="{DB1B2782-B002-4EC7-AB70-25EAB6D11687}" type="pres">
      <dgm:prSet presAssocID="{58A16DDF-F580-44B0-9024-0268C29D0C5C}" presName="sibTrans" presStyleLbl="sibTrans1D1" presStyleIdx="4" presStyleCnt="8"/>
      <dgm:spPr/>
    </dgm:pt>
    <dgm:pt modelId="{9F2C8F0F-C405-4613-983B-9E075D9E63E8}" type="pres">
      <dgm:prSet presAssocID="{54E04F17-13D3-47A1-AF68-F2B49ED42F3D}" presName="node" presStyleLbl="node1" presStyleIdx="5" presStyleCnt="8" custScaleX="396435" custRadScaleRad="109163" custRadScaleInc="88187">
        <dgm:presLayoutVars>
          <dgm:bulletEnabled val="1"/>
        </dgm:presLayoutVars>
      </dgm:prSet>
      <dgm:spPr/>
    </dgm:pt>
    <dgm:pt modelId="{B6480913-F869-456B-813D-BC09590B3862}" type="pres">
      <dgm:prSet presAssocID="{54E04F17-13D3-47A1-AF68-F2B49ED42F3D}" presName="spNode" presStyleCnt="0"/>
      <dgm:spPr/>
    </dgm:pt>
    <dgm:pt modelId="{467E58CA-E6C0-4434-9572-81B1750EE875}" type="pres">
      <dgm:prSet presAssocID="{7FEDDEE1-7AA2-4880-A271-B7E73EE1F056}" presName="sibTrans" presStyleLbl="sibTrans1D1" presStyleIdx="5" presStyleCnt="8"/>
      <dgm:spPr/>
    </dgm:pt>
    <dgm:pt modelId="{41185EFF-B78F-4BF5-AB6A-157193ADC307}" type="pres">
      <dgm:prSet presAssocID="{BB539926-EFA5-4825-8F8E-26C3CD7F42B4}" presName="node" presStyleLbl="node1" presStyleIdx="6" presStyleCnt="8" custScaleX="297463">
        <dgm:presLayoutVars>
          <dgm:bulletEnabled val="1"/>
        </dgm:presLayoutVars>
      </dgm:prSet>
      <dgm:spPr/>
    </dgm:pt>
    <dgm:pt modelId="{2C4326F9-D4D9-4044-BDBF-8E987F261439}" type="pres">
      <dgm:prSet presAssocID="{BB539926-EFA5-4825-8F8E-26C3CD7F42B4}" presName="spNode" presStyleCnt="0"/>
      <dgm:spPr/>
    </dgm:pt>
    <dgm:pt modelId="{965AB43B-E9E7-4F08-9A5A-C9C285FC2916}" type="pres">
      <dgm:prSet presAssocID="{810F69B9-9CD3-4755-B08E-2FBF430D5343}" presName="sibTrans" presStyleLbl="sibTrans1D1" presStyleIdx="6" presStyleCnt="8"/>
      <dgm:spPr/>
    </dgm:pt>
    <dgm:pt modelId="{AFF92BD0-5FF0-4F99-BAB8-B023803D7D97}" type="pres">
      <dgm:prSet presAssocID="{BA019111-B353-488F-BBF0-0F74E8CBECEC}" presName="node" presStyleLbl="node1" presStyleIdx="7" presStyleCnt="8" custScaleX="361145" custScaleY="155994" custRadScaleRad="98105" custRadScaleInc="-86665">
        <dgm:presLayoutVars>
          <dgm:bulletEnabled val="1"/>
        </dgm:presLayoutVars>
      </dgm:prSet>
      <dgm:spPr/>
    </dgm:pt>
    <dgm:pt modelId="{9E859EC1-0511-45EC-B637-1CA1280D4964}" type="pres">
      <dgm:prSet presAssocID="{BA019111-B353-488F-BBF0-0F74E8CBECEC}" presName="spNode" presStyleCnt="0"/>
      <dgm:spPr/>
    </dgm:pt>
    <dgm:pt modelId="{A1354199-31A3-4606-A79F-5A75915EC2B4}" type="pres">
      <dgm:prSet presAssocID="{ECC05AF6-166E-4F57-A0B3-6E67F6343D75}" presName="sibTrans" presStyleLbl="sibTrans1D1" presStyleIdx="7" presStyleCnt="8"/>
      <dgm:spPr/>
    </dgm:pt>
  </dgm:ptLst>
  <dgm:cxnLst>
    <dgm:cxn modelId="{18567D02-D9B6-4A04-875B-AA85809D9F86}" srcId="{3514E8A7-9E07-4EED-A829-E87BABB862C2}" destId="{BB539926-EFA5-4825-8F8E-26C3CD7F42B4}" srcOrd="6" destOrd="0" parTransId="{A2329223-104F-4343-AEE3-289A80DA76F9}" sibTransId="{810F69B9-9CD3-4755-B08E-2FBF430D5343}"/>
    <dgm:cxn modelId="{64615703-3B13-4ED9-81A4-F2B6CA1315A0}" srcId="{3514E8A7-9E07-4EED-A829-E87BABB862C2}" destId="{BA019111-B353-488F-BBF0-0F74E8CBECEC}" srcOrd="7" destOrd="0" parTransId="{28549921-8101-411F-A652-4365FB02DB93}" sibTransId="{ECC05AF6-166E-4F57-A0B3-6E67F6343D75}"/>
    <dgm:cxn modelId="{053A340B-09B9-497A-9F91-CF11322279BD}" type="presOf" srcId="{3514E8A7-9E07-4EED-A829-E87BABB862C2}" destId="{4185A5B1-0AF3-4475-8D8D-DABA7A0DCF0F}" srcOrd="0" destOrd="0" presId="urn:microsoft.com/office/officeart/2005/8/layout/cycle6"/>
    <dgm:cxn modelId="{3826460D-FA9F-4CB7-A4F7-5272766DC694}" type="presOf" srcId="{58A16DDF-F580-44B0-9024-0268C29D0C5C}" destId="{DB1B2782-B002-4EC7-AB70-25EAB6D11687}" srcOrd="0" destOrd="0" presId="urn:microsoft.com/office/officeart/2005/8/layout/cycle6"/>
    <dgm:cxn modelId="{85EA3D0F-89C1-4DE7-B45D-90205178EBE8}" type="presOf" srcId="{5D098912-42AB-4A21-BC8D-33A0A690E280}" destId="{F326E9FE-46C7-4E85-8433-EFADB117CC6F}" srcOrd="0" destOrd="0" presId="urn:microsoft.com/office/officeart/2005/8/layout/cycle6"/>
    <dgm:cxn modelId="{8BDC8012-85B7-4E7E-BBB2-2DCAAC85615D}" type="presOf" srcId="{447BB42D-42B3-495B-8065-B831BED9122E}" destId="{928461FD-154E-473B-85F7-9AC62B237C9A}" srcOrd="0" destOrd="0" presId="urn:microsoft.com/office/officeart/2005/8/layout/cycle6"/>
    <dgm:cxn modelId="{918A7F1A-0315-4DEC-B5CA-AE3B34F17775}" type="presOf" srcId="{BA019111-B353-488F-BBF0-0F74E8CBECEC}" destId="{AFF92BD0-5FF0-4F99-BAB8-B023803D7D97}" srcOrd="0" destOrd="0" presId="urn:microsoft.com/office/officeart/2005/8/layout/cycle6"/>
    <dgm:cxn modelId="{DFF6F841-6F02-46E6-A483-71AE5A6C79E2}" type="presOf" srcId="{7FEDDEE1-7AA2-4880-A271-B7E73EE1F056}" destId="{467E58CA-E6C0-4434-9572-81B1750EE875}" srcOrd="0" destOrd="0" presId="urn:microsoft.com/office/officeart/2005/8/layout/cycle6"/>
    <dgm:cxn modelId="{37537264-2EC0-4419-9226-5DE5DB08D282}" type="presOf" srcId="{BB539926-EFA5-4825-8F8E-26C3CD7F42B4}" destId="{41185EFF-B78F-4BF5-AB6A-157193ADC307}" srcOrd="0" destOrd="0" presId="urn:microsoft.com/office/officeart/2005/8/layout/cycle6"/>
    <dgm:cxn modelId="{9169716A-59D9-493E-A204-3F8DCB15AF4A}" srcId="{3514E8A7-9E07-4EED-A829-E87BABB862C2}" destId="{54E04F17-13D3-47A1-AF68-F2B49ED42F3D}" srcOrd="5" destOrd="0" parTransId="{705EB064-0E26-4A0C-8B90-BDE934EEEF8D}" sibTransId="{7FEDDEE1-7AA2-4880-A271-B7E73EE1F056}"/>
    <dgm:cxn modelId="{286C914E-B2DF-429F-9106-6EBF17282E14}" type="presOf" srcId="{F2719B88-C7EE-4230-B2F5-67FDB855F795}" destId="{2EFD55E0-0B97-4BBC-B79D-51EF54B712EA}" srcOrd="0" destOrd="0" presId="urn:microsoft.com/office/officeart/2005/8/layout/cycle6"/>
    <dgm:cxn modelId="{17925056-71D4-4552-9A44-F404F9B5E77E}" type="presOf" srcId="{54E04F17-13D3-47A1-AF68-F2B49ED42F3D}" destId="{9F2C8F0F-C405-4613-983B-9E075D9E63E8}" srcOrd="0" destOrd="0" presId="urn:microsoft.com/office/officeart/2005/8/layout/cycle6"/>
    <dgm:cxn modelId="{8FDAB979-380F-4C43-832E-530B94B366B7}" srcId="{3514E8A7-9E07-4EED-A829-E87BABB862C2}" destId="{A3047B97-D45B-4DF3-9723-1C16CB06EB96}" srcOrd="0" destOrd="0" parTransId="{43F14423-BFA7-41FE-8810-6A7EFCB754A1}" sibTransId="{3D48B690-3156-4995-B756-0447AAC2B587}"/>
    <dgm:cxn modelId="{CD6EA07F-7C52-4A94-A2F6-9E0EF1C3ACEC}" srcId="{3514E8A7-9E07-4EED-A829-E87BABB862C2}" destId="{0E64FAB2-7826-4259-8C56-BD3E89799CDA}" srcOrd="4" destOrd="0" parTransId="{D6CEC854-80CA-4736-8A35-8DEB87DCB914}" sibTransId="{58A16DDF-F580-44B0-9024-0268C29D0C5C}"/>
    <dgm:cxn modelId="{49774181-51B2-4733-A41C-B537D5D21351}" type="presOf" srcId="{ECC05AF6-166E-4F57-A0B3-6E67F6343D75}" destId="{A1354199-31A3-4606-A79F-5A75915EC2B4}" srcOrd="0" destOrd="0" presId="urn:microsoft.com/office/officeart/2005/8/layout/cycle6"/>
    <dgm:cxn modelId="{E40FB281-D60B-4803-8FA5-FC877E421664}" type="presOf" srcId="{536E0915-BD5A-45D5-BC20-EED8956FF292}" destId="{896D9217-CD02-4790-96D7-568A5702D3ED}" srcOrd="0" destOrd="0" presId="urn:microsoft.com/office/officeart/2005/8/layout/cycle6"/>
    <dgm:cxn modelId="{494E36A8-BC53-4137-9B99-7DB91163B619}" srcId="{3514E8A7-9E07-4EED-A829-E87BABB862C2}" destId="{5D098912-42AB-4A21-BC8D-33A0A690E280}" srcOrd="1" destOrd="0" parTransId="{799A9B31-A951-4BF1-9AD9-4BBD9A1858D6}" sibTransId="{447BB42D-42B3-495B-8065-B831BED9122E}"/>
    <dgm:cxn modelId="{705315BB-552E-4030-A1CE-F61352403F2C}" srcId="{3514E8A7-9E07-4EED-A829-E87BABB862C2}" destId="{1D92E3F8-CFC8-406A-8E31-4D038E0514AC}" srcOrd="3" destOrd="0" parTransId="{DFDFA91C-9301-4BC9-B9BE-28290DC0A6B3}" sibTransId="{F2719B88-C7EE-4230-B2F5-67FDB855F795}"/>
    <dgm:cxn modelId="{F2FCFEBE-AF73-4825-B0F0-79C044757907}" srcId="{3514E8A7-9E07-4EED-A829-E87BABB862C2}" destId="{536E0915-BD5A-45D5-BC20-EED8956FF292}" srcOrd="2" destOrd="0" parTransId="{D4278022-F8F7-480D-B47B-FE7054132C75}" sibTransId="{78BAEFDE-95B0-4B87-9283-049540F90B27}"/>
    <dgm:cxn modelId="{6CC414D2-1509-4405-AF49-D269C5DC806A}" type="presOf" srcId="{810F69B9-9CD3-4755-B08E-2FBF430D5343}" destId="{965AB43B-E9E7-4F08-9A5A-C9C285FC2916}" srcOrd="0" destOrd="0" presId="urn:microsoft.com/office/officeart/2005/8/layout/cycle6"/>
    <dgm:cxn modelId="{33B3E6D8-76A6-4385-950F-BD945F027CA7}" type="presOf" srcId="{A3047B97-D45B-4DF3-9723-1C16CB06EB96}" destId="{2F538F2E-0ADD-4E6B-8F47-B32C0A1360EB}" srcOrd="0" destOrd="0" presId="urn:microsoft.com/office/officeart/2005/8/layout/cycle6"/>
    <dgm:cxn modelId="{37DF85E0-5C0D-4060-A6F3-B09B76E7964E}" type="presOf" srcId="{3D48B690-3156-4995-B756-0447AAC2B587}" destId="{FFA0BD52-444F-4685-A1CD-799B60EA09CC}" srcOrd="0" destOrd="0" presId="urn:microsoft.com/office/officeart/2005/8/layout/cycle6"/>
    <dgm:cxn modelId="{B1194AE5-051C-4485-A631-ED39F168900C}" type="presOf" srcId="{78BAEFDE-95B0-4B87-9283-049540F90B27}" destId="{E829F808-6940-4B38-9488-2920A36B5628}" srcOrd="0" destOrd="0" presId="urn:microsoft.com/office/officeart/2005/8/layout/cycle6"/>
    <dgm:cxn modelId="{4C9DDEEF-70C7-4900-ACA8-3E0370DF842A}" type="presOf" srcId="{1D92E3F8-CFC8-406A-8E31-4D038E0514AC}" destId="{1A1E9F0C-64A2-4152-9E84-F9B435AB8E92}" srcOrd="0" destOrd="0" presId="urn:microsoft.com/office/officeart/2005/8/layout/cycle6"/>
    <dgm:cxn modelId="{992E05FD-6C4D-445F-A6BB-F4AC859FAC5E}" type="presOf" srcId="{0E64FAB2-7826-4259-8C56-BD3E89799CDA}" destId="{0711204A-3EED-407B-96CF-75A2453CAE5B}" srcOrd="0" destOrd="0" presId="urn:microsoft.com/office/officeart/2005/8/layout/cycle6"/>
    <dgm:cxn modelId="{25239F41-E2D2-4E9A-8A12-7B18E9FB1125}" type="presParOf" srcId="{4185A5B1-0AF3-4475-8D8D-DABA7A0DCF0F}" destId="{2F538F2E-0ADD-4E6B-8F47-B32C0A1360EB}" srcOrd="0" destOrd="0" presId="urn:microsoft.com/office/officeart/2005/8/layout/cycle6"/>
    <dgm:cxn modelId="{057946FC-9E84-4CCE-A279-305AFCD23ACA}" type="presParOf" srcId="{4185A5B1-0AF3-4475-8D8D-DABA7A0DCF0F}" destId="{3E0C8FF2-AE5F-47F0-8521-DC54BF12F140}" srcOrd="1" destOrd="0" presId="urn:microsoft.com/office/officeart/2005/8/layout/cycle6"/>
    <dgm:cxn modelId="{4EB21C50-0445-48C0-83C3-C8538A110B00}" type="presParOf" srcId="{4185A5B1-0AF3-4475-8D8D-DABA7A0DCF0F}" destId="{FFA0BD52-444F-4685-A1CD-799B60EA09CC}" srcOrd="2" destOrd="0" presId="urn:microsoft.com/office/officeart/2005/8/layout/cycle6"/>
    <dgm:cxn modelId="{A5F3C497-AD1F-47CB-BEC7-1E2576D47771}" type="presParOf" srcId="{4185A5B1-0AF3-4475-8D8D-DABA7A0DCF0F}" destId="{F326E9FE-46C7-4E85-8433-EFADB117CC6F}" srcOrd="3" destOrd="0" presId="urn:microsoft.com/office/officeart/2005/8/layout/cycle6"/>
    <dgm:cxn modelId="{ABE40698-5A57-429B-B279-459D4012EBE3}" type="presParOf" srcId="{4185A5B1-0AF3-4475-8D8D-DABA7A0DCF0F}" destId="{B41032DC-5D49-4A0A-B0D2-F82D091E21EC}" srcOrd="4" destOrd="0" presId="urn:microsoft.com/office/officeart/2005/8/layout/cycle6"/>
    <dgm:cxn modelId="{70CB5AC6-7241-4511-A685-2D6853E47A05}" type="presParOf" srcId="{4185A5B1-0AF3-4475-8D8D-DABA7A0DCF0F}" destId="{928461FD-154E-473B-85F7-9AC62B237C9A}" srcOrd="5" destOrd="0" presId="urn:microsoft.com/office/officeart/2005/8/layout/cycle6"/>
    <dgm:cxn modelId="{4E575753-188B-4E7C-BB66-0771179308A5}" type="presParOf" srcId="{4185A5B1-0AF3-4475-8D8D-DABA7A0DCF0F}" destId="{896D9217-CD02-4790-96D7-568A5702D3ED}" srcOrd="6" destOrd="0" presId="urn:microsoft.com/office/officeart/2005/8/layout/cycle6"/>
    <dgm:cxn modelId="{0ED920E4-82EA-4B76-BA82-71194ABFE219}" type="presParOf" srcId="{4185A5B1-0AF3-4475-8D8D-DABA7A0DCF0F}" destId="{96702D02-3B49-40B8-B2F6-6E75A69D81B0}" srcOrd="7" destOrd="0" presId="urn:microsoft.com/office/officeart/2005/8/layout/cycle6"/>
    <dgm:cxn modelId="{DE4290EB-37D8-4DAF-B842-A9004CCE1B89}" type="presParOf" srcId="{4185A5B1-0AF3-4475-8D8D-DABA7A0DCF0F}" destId="{E829F808-6940-4B38-9488-2920A36B5628}" srcOrd="8" destOrd="0" presId="urn:microsoft.com/office/officeart/2005/8/layout/cycle6"/>
    <dgm:cxn modelId="{1EE9E69A-7292-4799-BB8D-22929DC8908B}" type="presParOf" srcId="{4185A5B1-0AF3-4475-8D8D-DABA7A0DCF0F}" destId="{1A1E9F0C-64A2-4152-9E84-F9B435AB8E92}" srcOrd="9" destOrd="0" presId="urn:microsoft.com/office/officeart/2005/8/layout/cycle6"/>
    <dgm:cxn modelId="{8968F52B-BF62-4835-8B99-FBA3E8FDE16A}" type="presParOf" srcId="{4185A5B1-0AF3-4475-8D8D-DABA7A0DCF0F}" destId="{80109C2E-070D-4338-8133-3987400031A7}" srcOrd="10" destOrd="0" presId="urn:microsoft.com/office/officeart/2005/8/layout/cycle6"/>
    <dgm:cxn modelId="{D310D976-0C5B-4260-9B5A-5AB473A9AAB7}" type="presParOf" srcId="{4185A5B1-0AF3-4475-8D8D-DABA7A0DCF0F}" destId="{2EFD55E0-0B97-4BBC-B79D-51EF54B712EA}" srcOrd="11" destOrd="0" presId="urn:microsoft.com/office/officeart/2005/8/layout/cycle6"/>
    <dgm:cxn modelId="{E52D642E-B799-4353-98E6-F4B694B53F79}" type="presParOf" srcId="{4185A5B1-0AF3-4475-8D8D-DABA7A0DCF0F}" destId="{0711204A-3EED-407B-96CF-75A2453CAE5B}" srcOrd="12" destOrd="0" presId="urn:microsoft.com/office/officeart/2005/8/layout/cycle6"/>
    <dgm:cxn modelId="{DC0999F5-06F0-4FB1-8A2A-B9F728965B21}" type="presParOf" srcId="{4185A5B1-0AF3-4475-8D8D-DABA7A0DCF0F}" destId="{915A8649-176C-4E62-B64B-11F26CE811A1}" srcOrd="13" destOrd="0" presId="urn:microsoft.com/office/officeart/2005/8/layout/cycle6"/>
    <dgm:cxn modelId="{BE99F854-B4EB-4BCB-BA04-BDBE57214ACF}" type="presParOf" srcId="{4185A5B1-0AF3-4475-8D8D-DABA7A0DCF0F}" destId="{DB1B2782-B002-4EC7-AB70-25EAB6D11687}" srcOrd="14" destOrd="0" presId="urn:microsoft.com/office/officeart/2005/8/layout/cycle6"/>
    <dgm:cxn modelId="{265C04EB-1A59-4DCD-87D9-AEBE6D9368AD}" type="presParOf" srcId="{4185A5B1-0AF3-4475-8D8D-DABA7A0DCF0F}" destId="{9F2C8F0F-C405-4613-983B-9E075D9E63E8}" srcOrd="15" destOrd="0" presId="urn:microsoft.com/office/officeart/2005/8/layout/cycle6"/>
    <dgm:cxn modelId="{24C260AD-3146-472C-8611-D0F27CB5D513}" type="presParOf" srcId="{4185A5B1-0AF3-4475-8D8D-DABA7A0DCF0F}" destId="{B6480913-F869-456B-813D-BC09590B3862}" srcOrd="16" destOrd="0" presId="urn:microsoft.com/office/officeart/2005/8/layout/cycle6"/>
    <dgm:cxn modelId="{D872AEC2-D8C6-45C1-B0DB-304ADC34764B}" type="presParOf" srcId="{4185A5B1-0AF3-4475-8D8D-DABA7A0DCF0F}" destId="{467E58CA-E6C0-4434-9572-81B1750EE875}" srcOrd="17" destOrd="0" presId="urn:microsoft.com/office/officeart/2005/8/layout/cycle6"/>
    <dgm:cxn modelId="{CDA37F0E-C099-4DEF-BAFB-1F1A79CE69FF}" type="presParOf" srcId="{4185A5B1-0AF3-4475-8D8D-DABA7A0DCF0F}" destId="{41185EFF-B78F-4BF5-AB6A-157193ADC307}" srcOrd="18" destOrd="0" presId="urn:microsoft.com/office/officeart/2005/8/layout/cycle6"/>
    <dgm:cxn modelId="{20C7FFD6-B0ED-4596-9474-F4E04926811A}" type="presParOf" srcId="{4185A5B1-0AF3-4475-8D8D-DABA7A0DCF0F}" destId="{2C4326F9-D4D9-4044-BDBF-8E987F261439}" srcOrd="19" destOrd="0" presId="urn:microsoft.com/office/officeart/2005/8/layout/cycle6"/>
    <dgm:cxn modelId="{C3474AF7-4D81-42DA-B122-8D6183AB6271}" type="presParOf" srcId="{4185A5B1-0AF3-4475-8D8D-DABA7A0DCF0F}" destId="{965AB43B-E9E7-4F08-9A5A-C9C285FC2916}" srcOrd="20" destOrd="0" presId="urn:microsoft.com/office/officeart/2005/8/layout/cycle6"/>
    <dgm:cxn modelId="{EA65792F-C603-4195-B31D-262533921753}" type="presParOf" srcId="{4185A5B1-0AF3-4475-8D8D-DABA7A0DCF0F}" destId="{AFF92BD0-5FF0-4F99-BAB8-B023803D7D97}" srcOrd="21" destOrd="0" presId="urn:microsoft.com/office/officeart/2005/8/layout/cycle6"/>
    <dgm:cxn modelId="{EB28506D-FBC6-406E-84EB-41B1F083279F}" type="presParOf" srcId="{4185A5B1-0AF3-4475-8D8D-DABA7A0DCF0F}" destId="{9E859EC1-0511-45EC-B637-1CA1280D4964}" srcOrd="22" destOrd="0" presId="urn:microsoft.com/office/officeart/2005/8/layout/cycle6"/>
    <dgm:cxn modelId="{B5DDA465-0DC9-4246-915A-10390D424CD3}" type="presParOf" srcId="{4185A5B1-0AF3-4475-8D8D-DABA7A0DCF0F}" destId="{A1354199-31A3-4606-A79F-5A75915EC2B4}" srcOrd="23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F538F2E-0ADD-4E6B-8F47-B32C0A1360EB}">
      <dsp:nvSpPr>
        <dsp:cNvPr id="0" name=""/>
        <dsp:cNvSpPr/>
      </dsp:nvSpPr>
      <dsp:spPr>
        <a:xfrm>
          <a:off x="3038072" y="3989"/>
          <a:ext cx="4225634" cy="690105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Manufacturing and 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Panel Validation and verificat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</a:p>
      </dsp:txBody>
      <dsp:txXfrm>
        <a:off x="3071760" y="37677"/>
        <a:ext cx="4158258" cy="622729"/>
      </dsp:txXfrm>
    </dsp:sp>
    <dsp:sp modelId="{FFA0BD52-444F-4685-A1CD-799B60EA09CC}">
      <dsp:nvSpPr>
        <dsp:cNvPr id="0" name=""/>
        <dsp:cNvSpPr/>
      </dsp:nvSpPr>
      <dsp:spPr>
        <a:xfrm>
          <a:off x="2702311" y="586204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3114520" y="110477"/>
              </a:moveTo>
              <a:arcTo wR="2395437" hR="2395437" stAng="17248135" swAng="1225831"/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26E9FE-46C7-4E85-8433-EFADB117CC6F}">
      <dsp:nvSpPr>
        <dsp:cNvPr id="0" name=""/>
        <dsp:cNvSpPr/>
      </dsp:nvSpPr>
      <dsp:spPr>
        <a:xfrm>
          <a:off x="5414035" y="1096762"/>
          <a:ext cx="3639352" cy="690105"/>
        </a:xfrm>
        <a:prstGeom prst="roundRect">
          <a:avLst/>
        </a:prstGeom>
        <a:gradFill rotWithShape="0">
          <a:gsLst>
            <a:gs pos="0">
              <a:schemeClr val="accent2">
                <a:hueOff val="-1515609"/>
                <a:satOff val="2361"/>
                <a:lumOff val="700"/>
                <a:alphaOff val="0"/>
                <a:tint val="50000"/>
                <a:satMod val="300000"/>
              </a:schemeClr>
            </a:gs>
            <a:gs pos="35000">
              <a:schemeClr val="accent2">
                <a:hueOff val="-1515609"/>
                <a:satOff val="2361"/>
                <a:lumOff val="700"/>
                <a:alphaOff val="0"/>
                <a:tint val="37000"/>
                <a:satMod val="300000"/>
              </a:schemeClr>
            </a:gs>
            <a:gs pos="100000">
              <a:schemeClr val="accent2">
                <a:hueOff val="-1515609"/>
                <a:satOff val="2361"/>
                <a:lumOff val="70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mWRD EQA orientation &amp; Cascade trainings</a:t>
          </a:r>
        </a:p>
      </dsp:txBody>
      <dsp:txXfrm>
        <a:off x="5447723" y="1130450"/>
        <a:ext cx="3571976" cy="622729"/>
      </dsp:txXfrm>
    </dsp:sp>
    <dsp:sp modelId="{928461FD-154E-473B-85F7-9AC62B237C9A}">
      <dsp:nvSpPr>
        <dsp:cNvPr id="0" name=""/>
        <dsp:cNvSpPr/>
      </dsp:nvSpPr>
      <dsp:spPr>
        <a:xfrm>
          <a:off x="2853494" y="418098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4562966" y="1375664"/>
              </a:moveTo>
              <a:arcTo wR="2395437" hR="2395437" stAng="20088245" swAng="1077159"/>
            </a:path>
          </a:pathLst>
        </a:custGeom>
        <a:noFill/>
        <a:ln w="9525" cap="flat" cmpd="sng" algn="ctr">
          <a:solidFill>
            <a:schemeClr val="accent2">
              <a:hueOff val="-1515609"/>
              <a:satOff val="2361"/>
              <a:lumOff val="70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96D9217-CD02-4790-96D7-568A5702D3ED}">
      <dsp:nvSpPr>
        <dsp:cNvPr id="0" name=""/>
        <dsp:cNvSpPr/>
      </dsp:nvSpPr>
      <dsp:spPr>
        <a:xfrm>
          <a:off x="5813885" y="2519080"/>
          <a:ext cx="3639352" cy="690105"/>
        </a:xfrm>
        <a:prstGeom prst="roundRect">
          <a:avLst/>
        </a:prstGeom>
        <a:gradFill rotWithShape="0">
          <a:gsLst>
            <a:gs pos="0">
              <a:schemeClr val="accent2">
                <a:hueOff val="-3031219"/>
                <a:satOff val="4722"/>
                <a:lumOff val="1401"/>
                <a:alphaOff val="0"/>
                <a:tint val="50000"/>
                <a:satMod val="300000"/>
              </a:schemeClr>
            </a:gs>
            <a:gs pos="35000">
              <a:schemeClr val="accent2">
                <a:hueOff val="-3031219"/>
                <a:satOff val="4722"/>
                <a:lumOff val="1401"/>
                <a:alphaOff val="0"/>
                <a:tint val="37000"/>
                <a:satMod val="300000"/>
              </a:schemeClr>
            </a:gs>
            <a:gs pos="100000">
              <a:schemeClr val="accent2">
                <a:hueOff val="-3031219"/>
                <a:satOff val="4722"/>
                <a:lumOff val="140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latin typeface="Arial" panose="020B0604020202020204" pitchFamily="34" charset="0"/>
              <a:cs typeface="Arial" panose="020B0604020202020204" pitchFamily="34" charset="0"/>
            </a:rPr>
            <a:t>Collection of site contact  information (address/phone) &amp; Registration in EQA portal </a:t>
          </a:r>
        </a:p>
      </dsp:txBody>
      <dsp:txXfrm>
        <a:off x="5847573" y="2552768"/>
        <a:ext cx="3571976" cy="622729"/>
      </dsp:txXfrm>
    </dsp:sp>
    <dsp:sp modelId="{E829F808-6940-4B38-9488-2920A36B5628}">
      <dsp:nvSpPr>
        <dsp:cNvPr id="0" name=""/>
        <dsp:cNvSpPr/>
      </dsp:nvSpPr>
      <dsp:spPr>
        <a:xfrm>
          <a:off x="2853851" y="316818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4737375" y="2898872"/>
              </a:moveTo>
              <a:arcTo wR="2395437" hR="2395437" stAng="727918" swAng="938595"/>
            </a:path>
          </a:pathLst>
        </a:custGeom>
        <a:noFill/>
        <a:ln w="9525" cap="flat" cmpd="sng" algn="ctr">
          <a:solidFill>
            <a:schemeClr val="accent2">
              <a:hueOff val="-3031219"/>
              <a:satOff val="4722"/>
              <a:lumOff val="14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1E9F0C-64A2-4152-9E84-F9B435AB8E92}">
      <dsp:nvSpPr>
        <dsp:cNvPr id="0" name=""/>
        <dsp:cNvSpPr/>
      </dsp:nvSpPr>
      <dsp:spPr>
        <a:xfrm>
          <a:off x="5455940" y="3834420"/>
          <a:ext cx="3406765" cy="690105"/>
        </a:xfrm>
        <a:prstGeom prst="roundRect">
          <a:avLst/>
        </a:prstGeom>
        <a:gradFill rotWithShape="0">
          <a:gsLst>
            <a:gs pos="0">
              <a:schemeClr val="accent2">
                <a:hueOff val="-4546828"/>
                <a:satOff val="7083"/>
                <a:lumOff val="2101"/>
                <a:alphaOff val="0"/>
                <a:tint val="50000"/>
                <a:satMod val="300000"/>
              </a:schemeClr>
            </a:gs>
            <a:gs pos="35000">
              <a:schemeClr val="accent2">
                <a:hueOff val="-4546828"/>
                <a:satOff val="7083"/>
                <a:lumOff val="2101"/>
                <a:alphaOff val="0"/>
                <a:tint val="37000"/>
                <a:satMod val="300000"/>
              </a:schemeClr>
            </a:gs>
            <a:gs pos="100000">
              <a:schemeClr val="accent2">
                <a:hueOff val="-4546828"/>
                <a:satOff val="7083"/>
                <a:lumOff val="210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Packaging and shipment</a:t>
          </a:r>
        </a:p>
      </dsp:txBody>
      <dsp:txXfrm>
        <a:off x="5489628" y="3868108"/>
        <a:ext cx="3339389" cy="622729"/>
      </dsp:txXfrm>
    </dsp:sp>
    <dsp:sp modelId="{2EFD55E0-0B97-4BBC-B79D-51EF54B712EA}">
      <dsp:nvSpPr>
        <dsp:cNvPr id="0" name=""/>
        <dsp:cNvSpPr/>
      </dsp:nvSpPr>
      <dsp:spPr>
        <a:xfrm>
          <a:off x="2949259" y="274642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3905299" y="4255125"/>
              </a:moveTo>
              <a:arcTo wR="2395437" hR="2395437" stAng="3055632" swAng="1172941"/>
            </a:path>
          </a:pathLst>
        </a:custGeom>
        <a:noFill/>
        <a:ln w="9525" cap="flat" cmpd="sng" algn="ctr">
          <a:solidFill>
            <a:schemeClr val="accent2">
              <a:hueOff val="-4546828"/>
              <a:satOff val="7083"/>
              <a:lumOff val="21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11204A-3EED-407B-96CF-75A2453CAE5B}">
      <dsp:nvSpPr>
        <dsp:cNvPr id="0" name=""/>
        <dsp:cNvSpPr/>
      </dsp:nvSpPr>
      <dsp:spPr>
        <a:xfrm>
          <a:off x="4149589" y="4797775"/>
          <a:ext cx="1987833" cy="690105"/>
        </a:xfrm>
        <a:prstGeom prst="roundRect">
          <a:avLst/>
        </a:prstGeom>
        <a:gradFill rotWithShape="0">
          <a:gsLst>
            <a:gs pos="0">
              <a:schemeClr val="accent2">
                <a:hueOff val="-6062437"/>
                <a:satOff val="9445"/>
                <a:lumOff val="2801"/>
                <a:alphaOff val="0"/>
                <a:tint val="50000"/>
                <a:satMod val="300000"/>
              </a:schemeClr>
            </a:gs>
            <a:gs pos="35000">
              <a:schemeClr val="accent2">
                <a:hueOff val="-6062437"/>
                <a:satOff val="9445"/>
                <a:lumOff val="2801"/>
                <a:alphaOff val="0"/>
                <a:tint val="37000"/>
                <a:satMod val="300000"/>
              </a:schemeClr>
            </a:gs>
            <a:gs pos="100000">
              <a:schemeClr val="accent2">
                <a:hueOff val="-6062437"/>
                <a:satOff val="9445"/>
                <a:lumOff val="280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600" b="1" kern="1200" dirty="0">
              <a:solidFill>
                <a:srgbClr val="FF0000"/>
              </a:solidFill>
            </a:rPr>
            <a:t>Testing panel &amp; Reporting</a:t>
          </a:r>
        </a:p>
      </dsp:txBody>
      <dsp:txXfrm>
        <a:off x="4183277" y="4831463"/>
        <a:ext cx="1920457" cy="622729"/>
      </dsp:txXfrm>
    </dsp:sp>
    <dsp:sp modelId="{DB1B2782-B002-4EC7-AB70-25EAB6D11687}">
      <dsp:nvSpPr>
        <dsp:cNvPr id="0" name=""/>
        <dsp:cNvSpPr/>
      </dsp:nvSpPr>
      <dsp:spPr>
        <a:xfrm>
          <a:off x="2269567" y="189052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1869583" y="4732443"/>
              </a:moveTo>
              <a:arcTo wR="2395437" hR="2395437" stAng="6160862" swAng="1517098"/>
            </a:path>
          </a:pathLst>
        </a:custGeom>
        <a:noFill/>
        <a:ln w="9525" cap="flat" cmpd="sng" algn="ctr">
          <a:solidFill>
            <a:schemeClr val="accent2">
              <a:hueOff val="-6062437"/>
              <a:satOff val="9445"/>
              <a:lumOff val="28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2C8F0F-C405-4613-983B-9E075D9E63E8}">
      <dsp:nvSpPr>
        <dsp:cNvPr id="0" name=""/>
        <dsp:cNvSpPr/>
      </dsp:nvSpPr>
      <dsp:spPr>
        <a:xfrm>
          <a:off x="823326" y="3776292"/>
          <a:ext cx="4208955" cy="690105"/>
        </a:xfrm>
        <a:prstGeom prst="roundRect">
          <a:avLst/>
        </a:prstGeom>
        <a:gradFill rotWithShape="0">
          <a:gsLst>
            <a:gs pos="0">
              <a:schemeClr val="accent2">
                <a:hueOff val="-7578046"/>
                <a:satOff val="11806"/>
                <a:lumOff val="3501"/>
                <a:alphaOff val="0"/>
                <a:tint val="50000"/>
                <a:satMod val="300000"/>
              </a:schemeClr>
            </a:gs>
            <a:gs pos="35000">
              <a:schemeClr val="accent2">
                <a:hueOff val="-7578046"/>
                <a:satOff val="11806"/>
                <a:lumOff val="3501"/>
                <a:alphaOff val="0"/>
                <a:tint val="37000"/>
                <a:satMod val="300000"/>
              </a:schemeClr>
            </a:gs>
            <a:gs pos="100000">
              <a:schemeClr val="accent2">
                <a:hueOff val="-7578046"/>
                <a:satOff val="11806"/>
                <a:lumOff val="3501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Arial" panose="020B0604020202020204" pitchFamily="34" charset="0"/>
              <a:cs typeface="Arial" panose="020B0604020202020204" pitchFamily="34" charset="0"/>
            </a:rPr>
            <a:t>Collection, Compilation and data analysis</a:t>
          </a:r>
          <a:endParaRPr lang="en-US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857014" y="3809980"/>
        <a:ext cx="4141579" cy="622729"/>
      </dsp:txXfrm>
    </dsp:sp>
    <dsp:sp modelId="{467E58CA-E6C0-4434-9572-81B1750EE875}">
      <dsp:nvSpPr>
        <dsp:cNvPr id="0" name=""/>
        <dsp:cNvSpPr/>
      </dsp:nvSpPr>
      <dsp:spPr>
        <a:xfrm>
          <a:off x="2736873" y="1148846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10605" y="2620602"/>
              </a:moveTo>
              <a:arcTo wR="2395437" hR="2395437" stAng="10476384" swAng="970358"/>
            </a:path>
          </a:pathLst>
        </a:custGeom>
        <a:noFill/>
        <a:ln w="9525" cap="flat" cmpd="sng" algn="ctr">
          <a:solidFill>
            <a:schemeClr val="accent2">
              <a:hueOff val="-7578046"/>
              <a:satOff val="11806"/>
              <a:lumOff val="350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1185EFF-B78F-4BF5-AB6A-157193ADC307}">
      <dsp:nvSpPr>
        <dsp:cNvPr id="0" name=""/>
        <dsp:cNvSpPr/>
      </dsp:nvSpPr>
      <dsp:spPr>
        <a:xfrm>
          <a:off x="1176368" y="2399427"/>
          <a:ext cx="3158168" cy="690105"/>
        </a:xfrm>
        <a:prstGeom prst="roundRect">
          <a:avLst/>
        </a:prstGeom>
        <a:gradFill rotWithShape="0">
          <a:gsLst>
            <a:gs pos="0">
              <a:schemeClr val="accent2">
                <a:hueOff val="-9093656"/>
                <a:satOff val="14167"/>
                <a:lumOff val="4202"/>
                <a:alphaOff val="0"/>
                <a:tint val="50000"/>
                <a:satMod val="300000"/>
              </a:schemeClr>
            </a:gs>
            <a:gs pos="35000">
              <a:schemeClr val="accent2">
                <a:hueOff val="-9093656"/>
                <a:satOff val="14167"/>
                <a:lumOff val="4202"/>
                <a:alphaOff val="0"/>
                <a:tint val="37000"/>
                <a:satMod val="300000"/>
              </a:schemeClr>
            </a:gs>
            <a:gs pos="100000">
              <a:schemeClr val="accent2">
                <a:hueOff val="-9093656"/>
                <a:satOff val="14167"/>
                <a:lumOff val="420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Arial" panose="020B0604020202020204" pitchFamily="34" charset="0"/>
              <a:cs typeface="Arial" panose="020B0604020202020204" pitchFamily="34" charset="0"/>
            </a:rPr>
            <a:t>Feedback report to the sites &amp; respective division &amp; RTRL &amp; NTP</a:t>
          </a:r>
        </a:p>
      </dsp:txBody>
      <dsp:txXfrm>
        <a:off x="1210056" y="2433115"/>
        <a:ext cx="3090792" cy="622729"/>
      </dsp:txXfrm>
    </dsp:sp>
    <dsp:sp modelId="{965AB43B-E9E7-4F08-9A5A-C9C285FC2916}">
      <dsp:nvSpPr>
        <dsp:cNvPr id="0" name=""/>
        <dsp:cNvSpPr/>
      </dsp:nvSpPr>
      <dsp:spPr>
        <a:xfrm>
          <a:off x="2698236" y="626117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83199" y="1769598"/>
              </a:moveTo>
              <a:arcTo wR="2395437" hR="2395437" stAng="11708701" swAng="541260"/>
            </a:path>
          </a:pathLst>
        </a:custGeom>
        <a:noFill/>
        <a:ln w="9525" cap="flat" cmpd="sng" algn="ctr">
          <a:solidFill>
            <a:schemeClr val="accent2">
              <a:hueOff val="-9093656"/>
              <a:satOff val="14167"/>
              <a:lumOff val="42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F92BD0-5FF0-4F99-BAB8-B023803D7D97}">
      <dsp:nvSpPr>
        <dsp:cNvPr id="0" name=""/>
        <dsp:cNvSpPr/>
      </dsp:nvSpPr>
      <dsp:spPr>
        <a:xfrm>
          <a:off x="1240804" y="960875"/>
          <a:ext cx="3834281" cy="1076523"/>
        </a:xfrm>
        <a:prstGeom prst="roundRect">
          <a:avLst/>
        </a:prstGeom>
        <a:gradFill rotWithShape="0">
          <a:gsLst>
            <a:gs pos="0">
              <a:schemeClr val="accent2">
                <a:hueOff val="-10609265"/>
                <a:satOff val="16528"/>
                <a:lumOff val="4902"/>
                <a:alphaOff val="0"/>
                <a:tint val="50000"/>
                <a:satMod val="300000"/>
              </a:schemeClr>
            </a:gs>
            <a:gs pos="35000">
              <a:schemeClr val="accent2">
                <a:hueOff val="-10609265"/>
                <a:satOff val="16528"/>
                <a:lumOff val="4902"/>
                <a:alphaOff val="0"/>
                <a:tint val="37000"/>
                <a:satMod val="300000"/>
              </a:schemeClr>
            </a:gs>
            <a:gs pos="100000">
              <a:schemeClr val="accent2">
                <a:hueOff val="-10609265"/>
                <a:satOff val="16528"/>
                <a:lumOff val="4902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ost EQA visits and action taken report submission to NTP and Divisions</a:t>
          </a:r>
        </a:p>
      </dsp:txBody>
      <dsp:txXfrm>
        <a:off x="1293356" y="1013427"/>
        <a:ext cx="3729177" cy="971419"/>
      </dsp:txXfrm>
    </dsp:sp>
    <dsp:sp modelId="{A1354199-31A3-4606-A79F-5A75915EC2B4}">
      <dsp:nvSpPr>
        <dsp:cNvPr id="0" name=""/>
        <dsp:cNvSpPr/>
      </dsp:nvSpPr>
      <dsp:spPr>
        <a:xfrm>
          <a:off x="3116230" y="493881"/>
          <a:ext cx="4790875" cy="4790875"/>
        </a:xfrm>
        <a:custGeom>
          <a:avLst/>
          <a:gdLst/>
          <a:ahLst/>
          <a:cxnLst/>
          <a:rect l="0" t="0" r="0" b="0"/>
          <a:pathLst>
            <a:path>
              <a:moveTo>
                <a:pt x="978742" y="463832"/>
              </a:moveTo>
              <a:arcTo wR="2395437" hR="2395437" stAng="14024556" swAng="752265"/>
            </a:path>
          </a:pathLst>
        </a:custGeom>
        <a:noFill/>
        <a:ln w="9525" cap="flat" cmpd="sng" algn="ctr">
          <a:solidFill>
            <a:schemeClr val="accent2">
              <a:hueOff val="-10609265"/>
              <a:satOff val="16528"/>
              <a:lumOff val="4902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400AD58B-399D-054B-9106-83359BF5E94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EC1209A-37E3-104D-A696-CE56C86A59F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925" y="0"/>
            <a:ext cx="4302125" cy="341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D484AE-AF15-CA4B-999E-0CF4799BC5F7}" type="datetimeFigureOut">
              <a:rPr lang="en-GB" smtClean="0"/>
              <a:t>10/12/2024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86C43993-7BA2-0E48-83A6-D0230E658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D21F3FA-3EA4-8D47-A5D0-1CF3BCB659B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925" y="6456363"/>
            <a:ext cx="4302125" cy="3413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02C6D-8DBA-E24B-AF6A-A1ECB89B13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1885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6" y="0"/>
            <a:ext cx="4301316" cy="34004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1926FF-3E55-475B-A653-864594870954}" type="datetimeFigureOut">
              <a:rPr lang="en-US" smtClean="0"/>
              <a:t>12/10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2588" y="849313"/>
            <a:ext cx="4081462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3006" y="3271517"/>
            <a:ext cx="7940628" cy="2676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6" y="6457636"/>
            <a:ext cx="4301316" cy="340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B318DB-F457-434B-AF38-9C9D2D24F72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3450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1B318DB-F457-434B-AF38-9C9D2D24F725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790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rma libre 52">
            <a:extLst>
              <a:ext uri="{FF2B5EF4-FFF2-40B4-BE49-F238E27FC236}">
                <a16:creationId xmlns:a16="http://schemas.microsoft.com/office/drawing/2014/main" id="{588D54C6-6060-4EFD-B0A3-3A19C272912E}"/>
              </a:ext>
            </a:extLst>
          </p:cNvPr>
          <p:cNvSpPr/>
          <p:nvPr userDrawn="1"/>
        </p:nvSpPr>
        <p:spPr>
          <a:xfrm>
            <a:off x="590958" y="0"/>
            <a:ext cx="6234162" cy="4275244"/>
          </a:xfrm>
          <a:custGeom>
            <a:avLst/>
            <a:gdLst>
              <a:gd name="connsiteX0" fmla="*/ 224773 w 6234162"/>
              <a:gd name="connsiteY0" fmla="*/ 0 h 4275244"/>
              <a:gd name="connsiteX1" fmla="*/ 6009390 w 6234162"/>
              <a:gd name="connsiteY1" fmla="*/ 0 h 4275244"/>
              <a:gd name="connsiteX2" fmla="*/ 6094024 w 6234162"/>
              <a:gd name="connsiteY2" fmla="*/ 231240 h 4275244"/>
              <a:gd name="connsiteX3" fmla="*/ 6234162 w 6234162"/>
              <a:gd name="connsiteY3" fmla="*/ 1158164 h 4275244"/>
              <a:gd name="connsiteX4" fmla="*/ 3117081 w 6234162"/>
              <a:gd name="connsiteY4" fmla="*/ 4275244 h 4275244"/>
              <a:gd name="connsiteX5" fmla="*/ 0 w 6234162"/>
              <a:gd name="connsiteY5" fmla="*/ 1158164 h 4275244"/>
              <a:gd name="connsiteX6" fmla="*/ 140138 w 6234162"/>
              <a:gd name="connsiteY6" fmla="*/ 231240 h 4275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34162" h="4275244">
                <a:moveTo>
                  <a:pt x="224773" y="0"/>
                </a:moveTo>
                <a:lnTo>
                  <a:pt x="6009390" y="0"/>
                </a:lnTo>
                <a:lnTo>
                  <a:pt x="6094024" y="231240"/>
                </a:lnTo>
                <a:cubicBezTo>
                  <a:pt x="6185099" y="524055"/>
                  <a:pt x="6234162" y="835380"/>
                  <a:pt x="6234162" y="1158164"/>
                </a:cubicBezTo>
                <a:cubicBezTo>
                  <a:pt x="6234162" y="2879680"/>
                  <a:pt x="4838597" y="4275244"/>
                  <a:pt x="3117081" y="4275244"/>
                </a:cubicBezTo>
                <a:cubicBezTo>
                  <a:pt x="1395565" y="4275244"/>
                  <a:pt x="0" y="2879680"/>
                  <a:pt x="0" y="1158164"/>
                </a:cubicBezTo>
                <a:cubicBezTo>
                  <a:pt x="0" y="835380"/>
                  <a:pt x="49063" y="524055"/>
                  <a:pt x="140138" y="23124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8982829C-D174-4E44-A50A-27E2A5EF69B5}"/>
              </a:ext>
            </a:extLst>
          </p:cNvPr>
          <p:cNvSpPr/>
          <p:nvPr userDrawn="1"/>
        </p:nvSpPr>
        <p:spPr>
          <a:xfrm>
            <a:off x="596853" y="3928877"/>
            <a:ext cx="5751350" cy="2376673"/>
          </a:xfrm>
          <a:prstGeom prst="rect">
            <a:avLst/>
          </a:prstGeom>
          <a:noFill/>
          <a:ln w="12700" cap="flat" cmpd="sng" algn="ctr">
            <a:solidFill>
              <a:srgbClr val="5A2259">
                <a:alpha val="5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07725686-1765-4D39-B5F5-091C7C9289CC}"/>
              </a:ext>
            </a:extLst>
          </p:cNvPr>
          <p:cNvCxnSpPr>
            <a:cxnSpLocks/>
          </p:cNvCxnSpPr>
          <p:nvPr userDrawn="1"/>
        </p:nvCxnSpPr>
        <p:spPr>
          <a:xfrm>
            <a:off x="949601" y="5322823"/>
            <a:ext cx="0" cy="566802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>
            <a:extLst>
              <a:ext uri="{FF2B5EF4-FFF2-40B4-BE49-F238E27FC236}">
                <a16:creationId xmlns:a16="http://schemas.microsoft.com/office/drawing/2014/main" id="{61101015-A574-47DB-9B8C-4F865E76CCE5}"/>
              </a:ext>
            </a:extLst>
          </p:cNvPr>
          <p:cNvSpPr/>
          <p:nvPr userDrawn="1"/>
        </p:nvSpPr>
        <p:spPr>
          <a:xfrm>
            <a:off x="716255" y="382436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7651F23-9E3C-466E-872B-B5FA0E91F3DD}"/>
              </a:ext>
            </a:extLst>
          </p:cNvPr>
          <p:cNvSpPr/>
          <p:nvPr userDrawn="1"/>
        </p:nvSpPr>
        <p:spPr>
          <a:xfrm>
            <a:off x="0" y="888164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78D57CF9-A3A0-4A36-AE0F-DA407CE9BD82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" name="Forma libre: forma 16">
            <a:extLst>
              <a:ext uri="{FF2B5EF4-FFF2-40B4-BE49-F238E27FC236}">
                <a16:creationId xmlns:a16="http://schemas.microsoft.com/office/drawing/2014/main" id="{D22FDBD4-30A9-44A7-98A9-8439D09E051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0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96225" h="6858000">
                <a:moveTo>
                  <a:pt x="0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7" y="6858000"/>
                  <a:pt x="0" y="5322784"/>
                  <a:pt x="0" y="342900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23" name="Marcador de texto 21">
            <a:extLst>
              <a:ext uri="{FF2B5EF4-FFF2-40B4-BE49-F238E27FC236}">
                <a16:creationId xmlns:a16="http://schemas.microsoft.com/office/drawing/2014/main" id="{D507B8B4-E19C-479C-9DE0-7123B3377F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93521" y="5781269"/>
            <a:ext cx="3953466" cy="497069"/>
          </a:xfrm>
        </p:spPr>
        <p:txBody>
          <a:bodyPr>
            <a:normAutofit/>
          </a:bodyPr>
          <a:lstStyle>
            <a:lvl1pPr>
              <a:defRPr sz="1400" spc="100" baseline="0">
                <a:solidFill>
                  <a:srgbClr val="5A2259">
                    <a:alpha val="55000"/>
                  </a:srgb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 </a:t>
            </a:r>
            <a:r>
              <a:rPr lang="en-US" noProof="0" dirty="0" err="1"/>
              <a:t>consectetu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endParaRPr lang="en-US" noProof="0" dirty="0"/>
          </a:p>
        </p:txBody>
      </p:sp>
      <p:sp>
        <p:nvSpPr>
          <p:cNvPr id="24" name="Título 17">
            <a:extLst>
              <a:ext uri="{FF2B5EF4-FFF2-40B4-BE49-F238E27FC236}">
                <a16:creationId xmlns:a16="http://schemas.microsoft.com/office/drawing/2014/main" id="{1DF1DE5B-FD30-4B66-8167-26428D83AF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3521" y="3986157"/>
            <a:ext cx="3132000" cy="8318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ts val="2700"/>
              </a:lnSpc>
              <a:defRPr sz="28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25" name="Marcador de texto 19">
            <a:extLst>
              <a:ext uri="{FF2B5EF4-FFF2-40B4-BE49-F238E27FC236}">
                <a16:creationId xmlns:a16="http://schemas.microsoft.com/office/drawing/2014/main" id="{EB4A48CE-E482-4DB4-A38F-F21F030557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3521" y="4819207"/>
            <a:ext cx="3132000" cy="831850"/>
          </a:xfrm>
        </p:spPr>
        <p:txBody>
          <a:bodyPr>
            <a:normAutofit/>
          </a:bodyPr>
          <a:lstStyle>
            <a:lvl1pPr>
              <a:lnSpc>
                <a:spcPts val="1760"/>
              </a:lnSpc>
              <a:spcBef>
                <a:spcPts val="0"/>
              </a:spcBef>
              <a:defRPr sz="1800" b="0">
                <a:solidFill>
                  <a:srgbClr val="FFFFFF">
                    <a:alpha val="85000"/>
                  </a:srgbClr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/>
              <a:t>Subtitle of presentation.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C8FE2267-F533-4049-A98E-29FD204DB1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650333" y="552450"/>
            <a:ext cx="2612204" cy="130610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0BA39C-A7F8-3911-6A5D-24DC10982A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941" y="749800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75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502922"/>
            <a:ext cx="12192000" cy="3047327"/>
          </a:xfrm>
          <a:prstGeom prst="rect">
            <a:avLst/>
          </a:prstGeom>
          <a:solidFill>
            <a:srgbClr val="4C5B68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28918" y="1862175"/>
            <a:ext cx="8530451" cy="532272"/>
          </a:xfrm>
        </p:spPr>
        <p:txBody>
          <a:bodyPr anchor="b"/>
          <a:lstStyle>
            <a:lvl1pPr algn="l">
              <a:defRPr sz="2000" b="1" cap="all" baseline="0">
                <a:solidFill>
                  <a:srgbClr val="43ABB6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1732610" y="1862175"/>
            <a:ext cx="0" cy="853466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28918" y="2608847"/>
            <a:ext cx="8530458" cy="283751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400" b="0">
                <a:solidFill>
                  <a:srgbClr val="4C5B68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0346321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1416744"/>
            <a:ext cx="12192000" cy="4868658"/>
          </a:xfrm>
          <a:prstGeom prst="rect">
            <a:avLst/>
          </a:prstGeom>
          <a:solidFill>
            <a:srgbClr val="D3553F">
              <a:alpha val="7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3"/>
            <a:ext cx="0" cy="4474889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Marcador de texto 3">
            <a:extLst>
              <a:ext uri="{FF2B5EF4-FFF2-40B4-BE49-F238E27FC236}">
                <a16:creationId xmlns:a16="http://schemas.microsoft.com/office/drawing/2014/main" id="{3974C69A-6261-7D41-967B-C63248DB01A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6113100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5" name="Marcador de tabla 4">
            <a:extLst>
              <a:ext uri="{FF2B5EF4-FFF2-40B4-BE49-F238E27FC236}">
                <a16:creationId xmlns:a16="http://schemas.microsoft.com/office/drawing/2014/main" id="{C437BADD-9329-874D-9AF5-C8C007C4977A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1693863" y="1555147"/>
            <a:ext cx="8804275" cy="4618721"/>
          </a:xfrm>
        </p:spPr>
        <p:txBody>
          <a:bodyPr bIns="576000" anchor="ctr" anchorCtr="0"/>
          <a:lstStyle>
            <a:lvl1pPr algn="ctr">
              <a:defRPr sz="1800" b="1"/>
            </a:lvl1pPr>
          </a:lstStyle>
          <a:p>
            <a:r>
              <a:rPr lang="en-GB" dirty="0"/>
              <a:t>Table</a:t>
            </a:r>
          </a:p>
        </p:txBody>
      </p:sp>
    </p:spTree>
    <p:extLst>
      <p:ext uri="{BB962C8B-B14F-4D97-AF65-F5344CB8AC3E}">
        <p14:creationId xmlns:p14="http://schemas.microsoft.com/office/powerpoint/2010/main" val="3189377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9A41411-D0D6-4945-9151-683D097F7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4336" y="480075"/>
            <a:ext cx="9360000" cy="308122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10" name="Marcador de texto 11">
            <a:extLst>
              <a:ext uri="{FF2B5EF4-FFF2-40B4-BE49-F238E27FC236}">
                <a16:creationId xmlns:a16="http://schemas.microsoft.com/office/drawing/2014/main" id="{E87E5760-A6CE-47C4-AD8C-D22944B0931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4336" y="757830"/>
            <a:ext cx="10440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4255100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 conten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8A68373-39C9-43C0-3F46-A47469EF5D0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2409340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AC789F-09AB-0B9F-DC7C-DFC0CF8CF554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4564756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9934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FIND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36000" y="424343"/>
            <a:ext cx="9199395" cy="790065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GB" noProof="0"/>
              <a:t>Cliquez et modifiez le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noProof="0" dirty="0" err="1"/>
              <a:t>Cliquez</a:t>
            </a:r>
            <a:r>
              <a:rPr lang="en-GB" noProof="0" dirty="0"/>
              <a:t> pour modifier les styles du </a:t>
            </a:r>
            <a:r>
              <a:rPr lang="en-GB" noProof="0" dirty="0" err="1"/>
              <a:t>texte</a:t>
            </a:r>
            <a:r>
              <a:rPr lang="en-GB" noProof="0" dirty="0"/>
              <a:t> du masque</a:t>
            </a:r>
          </a:p>
          <a:p>
            <a:pPr lvl="1"/>
            <a:r>
              <a:rPr lang="en-GB" noProof="0" dirty="0" err="1"/>
              <a:t>Deux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  <a:p>
            <a:pPr lvl="2"/>
            <a:r>
              <a:rPr lang="en-GB" noProof="0" dirty="0" err="1"/>
              <a:t>Troisième</a:t>
            </a:r>
            <a:r>
              <a:rPr lang="en-GB" noProof="0" dirty="0"/>
              <a:t> </a:t>
            </a:r>
            <a:r>
              <a:rPr lang="en-GB" noProof="0" dirty="0" err="1"/>
              <a:t>niveau</a:t>
            </a:r>
            <a:endParaRPr lang="en-GB" noProof="0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noProof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BC644-22BB-E44D-9A3A-66E3988AB27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871738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>
            <a:extLst>
              <a:ext uri="{FF2B5EF4-FFF2-40B4-BE49-F238E27FC236}">
                <a16:creationId xmlns:a16="http://schemas.microsoft.com/office/drawing/2014/main" id="{552DB941-CD81-43C2-9023-BE2DBAB950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0"/>
            <a:ext cx="8692340" cy="6858000"/>
          </a:xfrm>
          <a:prstGeom prst="rect">
            <a:avLst/>
          </a:prstGeom>
        </p:spPr>
      </p:pic>
      <p:sp>
        <p:nvSpPr>
          <p:cNvPr id="31" name="Rectángulo 30">
            <a:extLst>
              <a:ext uri="{FF2B5EF4-FFF2-40B4-BE49-F238E27FC236}">
                <a16:creationId xmlns:a16="http://schemas.microsoft.com/office/drawing/2014/main" id="{A9010316-8E0A-4F87-BC73-CAF1178827C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A2259">
              <a:alpha val="85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ángulo 32">
            <a:extLst>
              <a:ext uri="{FF2B5EF4-FFF2-40B4-BE49-F238E27FC236}">
                <a16:creationId xmlns:a16="http://schemas.microsoft.com/office/drawing/2014/main" id="{CC847C2E-02D5-487A-8F06-4EE732248FE2}"/>
              </a:ext>
            </a:extLst>
          </p:cNvPr>
          <p:cNvSpPr/>
          <p:nvPr userDrawn="1"/>
        </p:nvSpPr>
        <p:spPr>
          <a:xfrm>
            <a:off x="688293" y="4750444"/>
            <a:ext cx="5751350" cy="1430306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4D2BD5A6-0B1B-40CE-AFCE-727CAF0E0697}"/>
              </a:ext>
            </a:extLst>
          </p:cNvPr>
          <p:cNvSpPr/>
          <p:nvPr userDrawn="1"/>
        </p:nvSpPr>
        <p:spPr>
          <a:xfrm>
            <a:off x="688291" y="4040040"/>
            <a:ext cx="710203" cy="710404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Rectángulo 39">
            <a:extLst>
              <a:ext uri="{FF2B5EF4-FFF2-40B4-BE49-F238E27FC236}">
                <a16:creationId xmlns:a16="http://schemas.microsoft.com/office/drawing/2014/main" id="{46C1DD1E-A1B6-433A-9308-9E804090A231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400" dirty="0" err="1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orma libre: forma 46">
            <a:extLst>
              <a:ext uri="{FF2B5EF4-FFF2-40B4-BE49-F238E27FC236}">
                <a16:creationId xmlns:a16="http://schemas.microsoft.com/office/drawing/2014/main" id="{8C90463E-5889-4113-BAFF-4D4CF6426B9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4295778" y="0"/>
            <a:ext cx="7896225" cy="6858000"/>
          </a:xfrm>
          <a:custGeom>
            <a:avLst/>
            <a:gdLst>
              <a:gd name="connsiteX0" fmla="*/ 536318 w 7896225"/>
              <a:gd name="connsiteY0" fmla="*/ 0 h 6858000"/>
              <a:gd name="connsiteX1" fmla="*/ 3429000 w 7896225"/>
              <a:gd name="connsiteY1" fmla="*/ 0 h 6858000"/>
              <a:gd name="connsiteX2" fmla="*/ 5805692 w 7896225"/>
              <a:gd name="connsiteY2" fmla="*/ 0 h 6858000"/>
              <a:gd name="connsiteX3" fmla="*/ 7896225 w 7896225"/>
              <a:gd name="connsiteY3" fmla="*/ 0 h 6858000"/>
              <a:gd name="connsiteX4" fmla="*/ 7896225 w 7896225"/>
              <a:gd name="connsiteY4" fmla="*/ 6858000 h 6858000"/>
              <a:gd name="connsiteX5" fmla="*/ 3429000 w 7896225"/>
              <a:gd name="connsiteY5" fmla="*/ 6858000 h 6858000"/>
              <a:gd name="connsiteX6" fmla="*/ 0 w 7896225"/>
              <a:gd name="connsiteY6" fmla="*/ 3429000 h 6858000"/>
              <a:gd name="connsiteX7" fmla="*/ 0 w 7896225"/>
              <a:gd name="connsiteY7" fmla="*/ 1578902 h 6858000"/>
              <a:gd name="connsiteX8" fmla="*/ 97443 w 7896225"/>
              <a:gd name="connsiteY8" fmla="*/ 1439219 h 6858000"/>
              <a:gd name="connsiteX9" fmla="*/ 526325 w 7896225"/>
              <a:gd name="connsiteY9" fmla="*/ 19789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896225" h="6858000">
                <a:moveTo>
                  <a:pt x="536318" y="0"/>
                </a:moveTo>
                <a:lnTo>
                  <a:pt x="3429000" y="0"/>
                </a:lnTo>
                <a:lnTo>
                  <a:pt x="5805692" y="0"/>
                </a:lnTo>
                <a:lnTo>
                  <a:pt x="7896225" y="0"/>
                </a:lnTo>
                <a:lnTo>
                  <a:pt x="7896225" y="6858000"/>
                </a:lnTo>
                <a:lnTo>
                  <a:pt x="3429000" y="6858000"/>
                </a:lnTo>
                <a:cubicBezTo>
                  <a:pt x="1535218" y="6858000"/>
                  <a:pt x="0" y="5322784"/>
                  <a:pt x="0" y="3429000"/>
                </a:cubicBezTo>
                <a:lnTo>
                  <a:pt x="0" y="1578902"/>
                </a:lnTo>
                <a:lnTo>
                  <a:pt x="97443" y="1439219"/>
                </a:lnTo>
                <a:cubicBezTo>
                  <a:pt x="329074" y="1073090"/>
                  <a:pt x="480306" y="651045"/>
                  <a:pt x="526325" y="197896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48" name="Forma libre: forma 47">
            <a:extLst>
              <a:ext uri="{FF2B5EF4-FFF2-40B4-BE49-F238E27FC236}">
                <a16:creationId xmlns:a16="http://schemas.microsoft.com/office/drawing/2014/main" id="{54A7AC35-48B5-49F1-9EE9-6939CC5BC3F3}"/>
              </a:ext>
            </a:extLst>
          </p:cNvPr>
          <p:cNvSpPr/>
          <p:nvPr userDrawn="1"/>
        </p:nvSpPr>
        <p:spPr>
          <a:xfrm>
            <a:off x="0" y="0"/>
            <a:ext cx="4832096" cy="2779550"/>
          </a:xfrm>
          <a:custGeom>
            <a:avLst/>
            <a:gdLst>
              <a:gd name="connsiteX0" fmla="*/ 0 w 4832096"/>
              <a:gd name="connsiteY0" fmla="*/ 0 h 2779550"/>
              <a:gd name="connsiteX1" fmla="*/ 4832096 w 4832096"/>
              <a:gd name="connsiteY1" fmla="*/ 0 h 2779550"/>
              <a:gd name="connsiteX2" fmla="*/ 4822103 w 4832096"/>
              <a:gd name="connsiteY2" fmla="*/ 197896 h 2779550"/>
              <a:gd name="connsiteX3" fmla="*/ 1961275 w 4832096"/>
              <a:gd name="connsiteY3" fmla="*/ 2779550 h 2779550"/>
              <a:gd name="connsiteX4" fmla="*/ 132079 w 4832096"/>
              <a:gd name="connsiteY4" fmla="*/ 2122886 h 2779550"/>
              <a:gd name="connsiteX5" fmla="*/ 0 w 4832096"/>
              <a:gd name="connsiteY5" fmla="*/ 2002844 h 277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32096" h="2779550">
                <a:moveTo>
                  <a:pt x="0" y="0"/>
                </a:moveTo>
                <a:lnTo>
                  <a:pt x="4832096" y="0"/>
                </a:lnTo>
                <a:lnTo>
                  <a:pt x="4822103" y="197896"/>
                </a:lnTo>
                <a:cubicBezTo>
                  <a:pt x="4674840" y="1647972"/>
                  <a:pt x="3450204" y="2779550"/>
                  <a:pt x="1961275" y="2779550"/>
                </a:cubicBezTo>
                <a:cubicBezTo>
                  <a:pt x="1266442" y="2779550"/>
                  <a:pt x="629165" y="2533118"/>
                  <a:pt x="132079" y="2122886"/>
                </a:cubicBezTo>
                <a:lnTo>
                  <a:pt x="0" y="2002844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  <a:effectLst>
            <a:outerShdw blurRad="114300" algn="ctr" rotWithShape="0">
              <a:schemeClr val="tx1">
                <a:lumMod val="85000"/>
                <a:lumOff val="15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spc="0" normalizeH="0" baseline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ítulo 17">
            <a:extLst>
              <a:ext uri="{FF2B5EF4-FFF2-40B4-BE49-F238E27FC236}">
                <a16:creationId xmlns:a16="http://schemas.microsoft.com/office/drawing/2014/main" id="{BFB3B7EA-0E87-4A80-A9F2-1B7D2C2D83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71" y="4795129"/>
            <a:ext cx="3554680" cy="134030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3200" b="0" cap="all" spc="300" baseline="0">
                <a:solidFill>
                  <a:srgbClr val="FFFFFF"/>
                </a:solidFill>
              </a:defRPr>
            </a:lvl1pPr>
          </a:lstStyle>
          <a:p>
            <a:r>
              <a:rPr lang="en-US" noProof="0" dirty="0"/>
              <a:t>Title of chapter</a:t>
            </a:r>
          </a:p>
        </p:txBody>
      </p:sp>
      <p:sp>
        <p:nvSpPr>
          <p:cNvPr id="11" name="Marcador de texto 10">
            <a:extLst>
              <a:ext uri="{FF2B5EF4-FFF2-40B4-BE49-F238E27FC236}">
                <a16:creationId xmlns:a16="http://schemas.microsoft.com/office/drawing/2014/main" id="{788D902E-AC33-418A-A733-04BA6C55570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8287" y="3867150"/>
            <a:ext cx="710207" cy="1033950"/>
          </a:xfrm>
        </p:spPr>
        <p:txBody>
          <a:bodyPr anchor="ctr">
            <a:normAutofit/>
          </a:bodyPr>
          <a:lstStyle>
            <a:lvl1pPr algn="ctr">
              <a:defRPr sz="4400" b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s-ES" dirty="0"/>
              <a:t>#</a:t>
            </a:r>
            <a:endParaRPr lang="en-GB" dirty="0"/>
          </a:p>
        </p:txBody>
      </p:sp>
      <p:pic>
        <p:nvPicPr>
          <p:cNvPr id="51" name="Picture 2">
            <a:extLst>
              <a:ext uri="{FF2B5EF4-FFF2-40B4-BE49-F238E27FC236}">
                <a16:creationId xmlns:a16="http://schemas.microsoft.com/office/drawing/2014/main" id="{6E768F5F-F96A-4B3F-9D21-B9A9111F53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77516" y="373821"/>
            <a:ext cx="3128209" cy="156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769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3E4225CE-E598-4742-A9D6-30EA2C28A602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33621167-7825-F04F-AF93-5194E0BD4BF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609231" y="1694689"/>
            <a:ext cx="9169841" cy="4321894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15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4C8A058-D429-D1D5-423B-26A039AEAC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92658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91E55553-2EC2-4940-8474-FA5FDD1E806B}"/>
              </a:ext>
            </a:extLst>
          </p:cNvPr>
          <p:cNvCxnSpPr>
            <a:cxnSpLocks/>
          </p:cNvCxnSpPr>
          <p:nvPr userDrawn="1"/>
        </p:nvCxnSpPr>
        <p:spPr>
          <a:xfrm flipV="1">
            <a:off x="1412924" y="1810514"/>
            <a:ext cx="0" cy="4958276"/>
          </a:xfrm>
          <a:prstGeom prst="line">
            <a:avLst/>
          </a:prstGeom>
          <a:ln w="12700" cap="rnd">
            <a:solidFill>
              <a:srgbClr val="43ABB6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3">
            <a:extLst>
              <a:ext uri="{FF2B5EF4-FFF2-40B4-BE49-F238E27FC236}">
                <a16:creationId xmlns:a16="http://schemas.microsoft.com/office/drawing/2014/main" id="{C83CD6F1-9136-9F4B-BE6E-50BB289DFC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495425" y="1238250"/>
            <a:ext cx="9283647" cy="4778333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900"/>
              </a:spcAft>
              <a:buSzPct val="80000"/>
              <a:buFont typeface="Arial" panose="020B0604020202020204" pitchFamily="34" charset="0"/>
              <a:buNone/>
              <a:defRPr sz="2400" b="0">
                <a:solidFill>
                  <a:srgbClr val="4C5B68"/>
                </a:solidFill>
              </a:defRPr>
            </a:lvl1pPr>
            <a:lvl2pPr>
              <a:spcAft>
                <a:spcPts val="900"/>
              </a:spcAft>
              <a:buClr>
                <a:srgbClr val="D3553F"/>
              </a:buClr>
              <a:defRPr lang="es-ES" sz="20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2pPr>
            <a:lvl3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3pPr>
            <a:lvl4pPr>
              <a:buClr>
                <a:srgbClr val="D3553F"/>
              </a:buClr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4pPr>
            <a:lvl5pPr marL="9525" indent="0">
              <a:buClr>
                <a:srgbClr val="D3553F"/>
              </a:buClr>
              <a:buNone/>
              <a:defRPr lang="es-ES" sz="1500" b="0" kern="1200" spc="100" baseline="0" dirty="0">
                <a:solidFill>
                  <a:srgbClr val="4C5B68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DA0685-2107-AEAB-7B7F-1522302D125F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904323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arcador de texto 11">
            <a:extLst>
              <a:ext uri="{FF2B5EF4-FFF2-40B4-BE49-F238E27FC236}">
                <a16:creationId xmlns:a16="http://schemas.microsoft.com/office/drawing/2014/main" id="{458CAAC6-527E-4505-8D55-67BA35AC75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793852" y="757830"/>
            <a:ext cx="5472000" cy="381159"/>
          </a:xfrm>
        </p:spPr>
        <p:txBody>
          <a:bodyPr/>
          <a:lstStyle>
            <a:lvl1pPr>
              <a:defRPr sz="2200" b="0" cap="all" spc="300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13" name="Título 12">
            <a:extLst>
              <a:ext uri="{FF2B5EF4-FFF2-40B4-BE49-F238E27FC236}">
                <a16:creationId xmlns:a16="http://schemas.microsoft.com/office/drawing/2014/main" id="{F81F6864-D8D1-4F92-BE78-12A0276AD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3852" y="480075"/>
            <a:ext cx="4212000" cy="308122"/>
          </a:xfrm>
          <a:prstGeom prst="rect">
            <a:avLst/>
          </a:prstGeom>
        </p:spPr>
        <p:txBody>
          <a:bodyPr anchor="b"/>
          <a:lstStyle/>
          <a:p>
            <a:r>
              <a:rPr lang="es-ES" dirty="0"/>
              <a:t>TITLE</a:t>
            </a:r>
            <a:endParaRPr lang="en-GB" dirty="0"/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62D147B5-EDB7-42AC-A836-CF89249A01FD}"/>
              </a:ext>
            </a:extLst>
          </p:cNvPr>
          <p:cNvSpPr/>
          <p:nvPr userDrawn="1"/>
        </p:nvSpPr>
        <p:spPr>
          <a:xfrm>
            <a:off x="0" y="1431234"/>
            <a:ext cx="12192000" cy="4784035"/>
          </a:xfrm>
          <a:prstGeom prst="rect">
            <a:avLst/>
          </a:prstGeom>
          <a:solidFill>
            <a:srgbClr val="8C9EAB">
              <a:alpha val="10000"/>
            </a:srgb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Forma libre: forma 34">
            <a:extLst>
              <a:ext uri="{FF2B5EF4-FFF2-40B4-BE49-F238E27FC236}">
                <a16:creationId xmlns:a16="http://schemas.microsoft.com/office/drawing/2014/main" id="{D552286A-F49C-42E7-A348-ADA9AC8D58BD}"/>
              </a:ext>
            </a:extLst>
          </p:cNvPr>
          <p:cNvSpPr/>
          <p:nvPr userDrawn="1"/>
        </p:nvSpPr>
        <p:spPr>
          <a:xfrm flipH="1">
            <a:off x="0" y="-48126"/>
            <a:ext cx="5534526" cy="6906124"/>
          </a:xfrm>
          <a:custGeom>
            <a:avLst/>
            <a:gdLst>
              <a:gd name="connsiteX0" fmla="*/ 1135685 w 5404022"/>
              <a:gd name="connsiteY0" fmla="*/ 0 h 6857998"/>
              <a:gd name="connsiteX1" fmla="*/ 5404022 w 5404022"/>
              <a:gd name="connsiteY1" fmla="*/ 0 h 6857998"/>
              <a:gd name="connsiteX2" fmla="*/ 5404022 w 5404022"/>
              <a:gd name="connsiteY2" fmla="*/ 6857998 h 6857998"/>
              <a:gd name="connsiteX3" fmla="*/ 2689453 w 5404022"/>
              <a:gd name="connsiteY3" fmla="*/ 6857998 h 6857998"/>
              <a:gd name="connsiteX4" fmla="*/ 2607100 w 5404022"/>
              <a:gd name="connsiteY4" fmla="*/ 6825527 h 6857998"/>
              <a:gd name="connsiteX5" fmla="*/ 0 w 5404022"/>
              <a:gd name="connsiteY5" fmla="*/ 2892328 h 6857998"/>
              <a:gd name="connsiteX6" fmla="*/ 974753 w 5404022"/>
              <a:gd name="connsiteY6" fmla="*/ 177070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2" h="6857998">
                <a:moveTo>
                  <a:pt x="1135685" y="0"/>
                </a:moveTo>
                <a:lnTo>
                  <a:pt x="5404022" y="0"/>
                </a:lnTo>
                <a:lnTo>
                  <a:pt x="5404022" y="6857998"/>
                </a:lnTo>
                <a:lnTo>
                  <a:pt x="2689453" y="6857998"/>
                </a:lnTo>
                <a:lnTo>
                  <a:pt x="2607100" y="6825527"/>
                </a:lnTo>
                <a:cubicBezTo>
                  <a:pt x="1075017" y="6177511"/>
                  <a:pt x="0" y="4660461"/>
                  <a:pt x="0" y="2892328"/>
                </a:cubicBezTo>
                <a:cubicBezTo>
                  <a:pt x="0" y="1860918"/>
                  <a:pt x="365805" y="914944"/>
                  <a:pt x="974753" y="177070"/>
                </a:cubicBezTo>
                <a:close/>
              </a:path>
            </a:pathLst>
          </a:custGeom>
          <a:noFill/>
          <a:ln w="12700">
            <a:gradFill>
              <a:gsLst>
                <a:gs pos="0">
                  <a:schemeClr val="accent6"/>
                </a:gs>
                <a:gs pos="100000">
                  <a:srgbClr val="43ABB6"/>
                </a:gs>
              </a:gsLst>
              <a:lin ang="5400000" scaled="1"/>
            </a:gra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rtlCol="0" anchor="t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100" normalizeH="0" baseline="0" noProof="0" dirty="0" err="1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5B692206-0B17-49CA-9101-C1F4D690BD5C}"/>
              </a:ext>
            </a:extLst>
          </p:cNvPr>
          <p:cNvSpPr txBox="1">
            <a:spLocks/>
          </p:cNvSpPr>
          <p:nvPr userDrawn="1"/>
        </p:nvSpPr>
        <p:spPr>
          <a:xfrm>
            <a:off x="560753" y="6483356"/>
            <a:ext cx="234462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4D992F-7007-473D-9CAC-8B17A67E3C5E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5A22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5A22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ángulo redondeado 97">
            <a:extLst>
              <a:ext uri="{FF2B5EF4-FFF2-40B4-BE49-F238E27FC236}">
                <a16:creationId xmlns:a16="http://schemas.microsoft.com/office/drawing/2014/main" id="{8BD2B99C-EA8C-48D9-AF37-F29645618C28}"/>
              </a:ext>
            </a:extLst>
          </p:cNvPr>
          <p:cNvSpPr/>
          <p:nvPr userDrawn="1"/>
        </p:nvSpPr>
        <p:spPr>
          <a:xfrm>
            <a:off x="6192252" y="1782026"/>
            <a:ext cx="5037221" cy="4317857"/>
          </a:xfrm>
          <a:prstGeom prst="roundRect">
            <a:avLst>
              <a:gd name="adj" fmla="val 6244"/>
            </a:avLst>
          </a:prstGeom>
          <a:noFill/>
          <a:ln w="12700">
            <a:solidFill>
              <a:schemeClr val="accent6"/>
            </a:solidFill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t"/>
          <a:lstStyle/>
          <a:p>
            <a:pPr marL="0" marR="0" lvl="0" indent="0" algn="ctr" defTabSz="4572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9" name="Rectángulo redondeado 71">
            <a:extLst>
              <a:ext uri="{FF2B5EF4-FFF2-40B4-BE49-F238E27FC236}">
                <a16:creationId xmlns:a16="http://schemas.microsoft.com/office/drawing/2014/main" id="{DFC4FC1E-20C6-4661-A371-E1E4034827F7}"/>
              </a:ext>
            </a:extLst>
          </p:cNvPr>
          <p:cNvSpPr/>
          <p:nvPr userDrawn="1"/>
        </p:nvSpPr>
        <p:spPr>
          <a:xfrm>
            <a:off x="6318437" y="1540560"/>
            <a:ext cx="5041525" cy="4498759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Forma libre: forma 80">
            <a:extLst>
              <a:ext uri="{FF2B5EF4-FFF2-40B4-BE49-F238E27FC236}">
                <a16:creationId xmlns:a16="http://schemas.microsoft.com/office/drawing/2014/main" id="{47C4454F-FE9E-4768-923A-E5429EA367F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1" y="2"/>
            <a:ext cx="5404021" cy="6857998"/>
          </a:xfrm>
          <a:custGeom>
            <a:avLst/>
            <a:gdLst>
              <a:gd name="connsiteX0" fmla="*/ 0 w 5404021"/>
              <a:gd name="connsiteY0" fmla="*/ 0 h 6857998"/>
              <a:gd name="connsiteX1" fmla="*/ 4268336 w 5404021"/>
              <a:gd name="connsiteY1" fmla="*/ 0 h 6857998"/>
              <a:gd name="connsiteX2" fmla="*/ 4429268 w 5404021"/>
              <a:gd name="connsiteY2" fmla="*/ 177070 h 6857998"/>
              <a:gd name="connsiteX3" fmla="*/ 5404021 w 5404021"/>
              <a:gd name="connsiteY3" fmla="*/ 2892328 h 6857998"/>
              <a:gd name="connsiteX4" fmla="*/ 2796921 w 5404021"/>
              <a:gd name="connsiteY4" fmla="*/ 6825527 h 6857998"/>
              <a:gd name="connsiteX5" fmla="*/ 2714568 w 5404021"/>
              <a:gd name="connsiteY5" fmla="*/ 6857998 h 6857998"/>
              <a:gd name="connsiteX6" fmla="*/ 0 w 5404021"/>
              <a:gd name="connsiteY6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04021" h="6857998">
                <a:moveTo>
                  <a:pt x="0" y="0"/>
                </a:moveTo>
                <a:lnTo>
                  <a:pt x="4268336" y="0"/>
                </a:lnTo>
                <a:lnTo>
                  <a:pt x="4429268" y="177070"/>
                </a:lnTo>
                <a:cubicBezTo>
                  <a:pt x="5038216" y="914944"/>
                  <a:pt x="5404021" y="1860918"/>
                  <a:pt x="5404021" y="2892328"/>
                </a:cubicBezTo>
                <a:cubicBezTo>
                  <a:pt x="5404021" y="4660461"/>
                  <a:pt x="4329004" y="6177511"/>
                  <a:pt x="2796921" y="6825527"/>
                </a:cubicBezTo>
                <a:lnTo>
                  <a:pt x="2714568" y="6857998"/>
                </a:lnTo>
                <a:lnTo>
                  <a:pt x="0" y="6857998"/>
                </a:lnTo>
                <a:close/>
              </a:path>
            </a:pathLst>
          </a:custGeom>
          <a:noFill/>
          <a:ln w="9525">
            <a:noFill/>
            <a:miter lim="800000"/>
            <a:headEnd/>
            <a:tailEnd/>
          </a:ln>
        </p:spPr>
        <p:txBody>
          <a:bodyPr wrap="square" bIns="1260000" anchor="ctr">
            <a:noAutofit/>
          </a:bodyPr>
          <a:lstStyle>
            <a:lvl1pPr algn="ctr">
              <a:defRPr sz="1800" b="1"/>
            </a:lvl1pPr>
          </a:lstStyle>
          <a:p>
            <a:r>
              <a:rPr lang="en-GB" dirty="0"/>
              <a:t>Picture</a:t>
            </a:r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876299E4-19BE-F24A-85E8-7BE02A89B4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13536" y="1782024"/>
            <a:ext cx="4251325" cy="4025051"/>
          </a:xfrm>
        </p:spPr>
        <p:txBody>
          <a:bodyPr anchor="ctr"/>
          <a:lstStyle/>
          <a:p>
            <a:pPr lvl="0"/>
            <a:r>
              <a:rPr lang="es-ES" dirty="0"/>
              <a:t>Text</a:t>
            </a:r>
          </a:p>
          <a:p>
            <a:pPr lvl="1"/>
            <a:r>
              <a:rPr lang="es-ES" dirty="0"/>
              <a:t>Text</a:t>
            </a:r>
          </a:p>
          <a:p>
            <a:pPr lvl="2"/>
            <a:r>
              <a:rPr lang="es-ES" dirty="0"/>
              <a:t>Text</a:t>
            </a:r>
          </a:p>
          <a:p>
            <a:pPr lvl="3"/>
            <a:r>
              <a:rPr lang="es-ES" dirty="0"/>
              <a:t>Text</a:t>
            </a:r>
          </a:p>
          <a:p>
            <a:pPr lvl="4"/>
            <a:r>
              <a:rPr lang="es-ES" dirty="0"/>
              <a:t>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52499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4CA282D-964C-1224-599C-4EE697C576FA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856898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 2">
            <a:extLst>
              <a:ext uri="{FF2B5EF4-FFF2-40B4-BE49-F238E27FC236}">
                <a16:creationId xmlns:a16="http://schemas.microsoft.com/office/drawing/2014/main" id="{A3E05040-690F-4E98-983D-25960FB4DB04}"/>
              </a:ext>
            </a:extLst>
          </p:cNvPr>
          <p:cNvSpPr/>
          <p:nvPr userDrawn="1"/>
        </p:nvSpPr>
        <p:spPr>
          <a:xfrm>
            <a:off x="0" y="2356482"/>
            <a:ext cx="12192000" cy="2767101"/>
          </a:xfrm>
          <a:prstGeom prst="rect">
            <a:avLst/>
          </a:prstGeom>
          <a:solidFill>
            <a:srgbClr val="43ABB6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4" name="Rectángulo redondeado 97">
            <a:extLst>
              <a:ext uri="{FF2B5EF4-FFF2-40B4-BE49-F238E27FC236}">
                <a16:creationId xmlns:a16="http://schemas.microsoft.com/office/drawing/2014/main" id="{A4FB5D33-F707-4355-AA51-EC4F3740E118}"/>
              </a:ext>
            </a:extLst>
          </p:cNvPr>
          <p:cNvSpPr/>
          <p:nvPr userDrawn="1"/>
        </p:nvSpPr>
        <p:spPr>
          <a:xfrm>
            <a:off x="547687" y="1799704"/>
            <a:ext cx="6742091" cy="3932907"/>
          </a:xfrm>
          <a:prstGeom prst="roundRect">
            <a:avLst>
              <a:gd name="adj" fmla="val 7562"/>
            </a:avLst>
          </a:prstGeom>
          <a:solidFill>
            <a:schemeClr val="bg1"/>
          </a:solidFill>
          <a:ln w="12700" cap="flat" cmpd="sng" algn="ctr">
            <a:solidFill>
              <a:srgbClr val="5A2259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ángulo redondeado 97">
            <a:extLst>
              <a:ext uri="{FF2B5EF4-FFF2-40B4-BE49-F238E27FC236}">
                <a16:creationId xmlns:a16="http://schemas.microsoft.com/office/drawing/2014/main" id="{E3565CBD-7499-40D0-9DA8-6DD1FCE4337E}"/>
              </a:ext>
            </a:extLst>
          </p:cNvPr>
          <p:cNvSpPr/>
          <p:nvPr userDrawn="1"/>
        </p:nvSpPr>
        <p:spPr>
          <a:xfrm>
            <a:off x="8047531" y="1799704"/>
            <a:ext cx="3634804" cy="3932907"/>
          </a:xfrm>
          <a:prstGeom prst="roundRect">
            <a:avLst>
              <a:gd name="adj" fmla="val 10838"/>
            </a:avLst>
          </a:prstGeom>
          <a:noFill/>
          <a:ln w="12700" cap="flat" cmpd="sng" algn="ctr">
            <a:solidFill>
              <a:srgbClr val="D3553F"/>
            </a:solidFill>
            <a:prstDash val="solid"/>
          </a:ln>
          <a:effectLst/>
        </p:spPr>
        <p:txBody>
          <a:bodyPr tIns="108000" rtlCol="0" anchor="t"/>
          <a:lstStyle/>
          <a:p>
            <a:pPr marL="0" marR="0" lvl="0" indent="0" algn="ctr" defTabSz="45720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100" normalizeH="0" baseline="0" noProof="0" dirty="0">
              <a:ln>
                <a:noFill/>
              </a:ln>
              <a:solidFill>
                <a:srgbClr val="4C5B68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ángulo redondeado 71">
            <a:extLst>
              <a:ext uri="{FF2B5EF4-FFF2-40B4-BE49-F238E27FC236}">
                <a16:creationId xmlns:a16="http://schemas.microsoft.com/office/drawing/2014/main" id="{56891ED6-134D-4226-83F8-62C6B3B2AC08}"/>
              </a:ext>
            </a:extLst>
          </p:cNvPr>
          <p:cNvSpPr/>
          <p:nvPr userDrawn="1"/>
        </p:nvSpPr>
        <p:spPr>
          <a:xfrm>
            <a:off x="8180512" y="1540560"/>
            <a:ext cx="3368842" cy="4042093"/>
          </a:xfrm>
          <a:prstGeom prst="roundRect">
            <a:avLst>
              <a:gd name="adj" fmla="val 589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108000" bIns="0" rtlCol="0" anchor="ctr"/>
          <a:lstStyle/>
          <a:p>
            <a:pPr lvl="0" defTabSz="457200">
              <a:lnSpc>
                <a:spcPts val="1620"/>
              </a:lnSpc>
              <a:buSzPct val="100000"/>
              <a:buFont typeface="Trebuchet MS" panose="020B0603020202020204" pitchFamily="34" charset="0"/>
              <a:buChar char="​"/>
              <a:defRPr/>
            </a:pPr>
            <a:endParaRPr lang="en-US" sz="1200" spc="100" dirty="0">
              <a:solidFill>
                <a:srgbClr val="4C5B6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Marcador de texto 81">
            <a:extLst>
              <a:ext uri="{FF2B5EF4-FFF2-40B4-BE49-F238E27FC236}">
                <a16:creationId xmlns:a16="http://schemas.microsoft.com/office/drawing/2014/main" id="{A85BC50F-C04E-4C6C-9A65-8EC3959EC3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44526" y="2163977"/>
            <a:ext cx="2840815" cy="341867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4" name="Marcador de texto 13">
            <a:extLst>
              <a:ext uri="{FF2B5EF4-FFF2-40B4-BE49-F238E27FC236}">
                <a16:creationId xmlns:a16="http://schemas.microsoft.com/office/drawing/2014/main" id="{D01248E3-331A-4B7C-9881-6C59AC7A161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43913" y="1703451"/>
            <a:ext cx="2841428" cy="318021"/>
          </a:xfrm>
        </p:spPr>
        <p:txBody>
          <a:bodyPr anchor="b"/>
          <a:lstStyle>
            <a:lvl1pPr>
              <a:defRPr sz="1600">
                <a:solidFill>
                  <a:srgbClr val="D3553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Lorem ipsum dolor</a:t>
            </a:r>
          </a:p>
        </p:txBody>
      </p:sp>
      <p:sp>
        <p:nvSpPr>
          <p:cNvPr id="17" name="Marcador de texto 16">
            <a:extLst>
              <a:ext uri="{FF2B5EF4-FFF2-40B4-BE49-F238E27FC236}">
                <a16:creationId xmlns:a16="http://schemas.microsoft.com/office/drawing/2014/main" id="{6FACE4DA-5C7C-4067-806E-D42EC9705F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237" y="1603793"/>
            <a:ext cx="6264000" cy="243541"/>
          </a:xfrm>
        </p:spPr>
        <p:txBody>
          <a:bodyPr/>
          <a:lstStyle>
            <a:lvl1pPr>
              <a:defRPr sz="1600" b="1" cap="all" baseline="0">
                <a:solidFill>
                  <a:srgbClr val="5A2259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 of graph</a:t>
            </a:r>
          </a:p>
        </p:txBody>
      </p:sp>
      <p:sp>
        <p:nvSpPr>
          <p:cNvPr id="19" name="Marcador de texto 18">
            <a:extLst>
              <a:ext uri="{FF2B5EF4-FFF2-40B4-BE49-F238E27FC236}">
                <a16:creationId xmlns:a16="http://schemas.microsoft.com/office/drawing/2014/main" id="{A59B49E9-588F-4C57-B690-EEC2204E76C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6237" y="5790951"/>
            <a:ext cx="6264000" cy="550125"/>
          </a:xfrm>
        </p:spPr>
        <p:txBody>
          <a:bodyPr/>
          <a:lstStyle>
            <a:lvl1pPr>
              <a:defRPr sz="900" i="1">
                <a:solidFill>
                  <a:srgbClr val="8C9EAB"/>
                </a:solidFill>
              </a:defRPr>
            </a:lvl1pPr>
          </a:lstStyle>
          <a:p>
            <a:pPr lvl="0"/>
            <a:r>
              <a:rPr lang="en-US" noProof="0"/>
              <a:t>Graph notes</a:t>
            </a:r>
          </a:p>
        </p:txBody>
      </p:sp>
      <p:sp>
        <p:nvSpPr>
          <p:cNvPr id="21" name="Marcador de gráfico 20">
            <a:extLst>
              <a:ext uri="{FF2B5EF4-FFF2-40B4-BE49-F238E27FC236}">
                <a16:creationId xmlns:a16="http://schemas.microsoft.com/office/drawing/2014/main" id="{591C2347-0AE4-4827-A0BB-15C7D78BDFA0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746125" y="2020888"/>
            <a:ext cx="6264275" cy="3562350"/>
          </a:xfrm>
        </p:spPr>
        <p:txBody>
          <a:bodyPr bIns="1260000" anchor="ctr"/>
          <a:lstStyle>
            <a:lvl1pPr algn="ctr">
              <a:defRPr sz="1800" b="1"/>
            </a:lvl1pPr>
          </a:lstStyle>
          <a:p>
            <a:r>
              <a:rPr lang="en-GB" dirty="0"/>
              <a:t>Graph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EEB95E6-5999-0DE3-4B29-3371CCA9FD87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295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ángulo 12">
            <a:extLst>
              <a:ext uri="{FF2B5EF4-FFF2-40B4-BE49-F238E27FC236}">
                <a16:creationId xmlns:a16="http://schemas.microsoft.com/office/drawing/2014/main" id="{4EC101F5-9D0B-4D29-8F7C-3C55FAB9A77F}"/>
              </a:ext>
            </a:extLst>
          </p:cNvPr>
          <p:cNvSpPr/>
          <p:nvPr userDrawn="1"/>
        </p:nvSpPr>
        <p:spPr>
          <a:xfrm>
            <a:off x="0" y="1542355"/>
            <a:ext cx="12192000" cy="1476908"/>
          </a:xfrm>
          <a:prstGeom prst="rect">
            <a:avLst/>
          </a:prstGeom>
          <a:solidFill>
            <a:srgbClr val="8C9EAB">
              <a:alpha val="1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16" name="Rectángulo redondeado 112">
            <a:extLst>
              <a:ext uri="{FF2B5EF4-FFF2-40B4-BE49-F238E27FC236}">
                <a16:creationId xmlns:a16="http://schemas.microsoft.com/office/drawing/2014/main" id="{2309FD08-C0E7-4117-A02B-BFC86E786E58}"/>
              </a:ext>
            </a:extLst>
          </p:cNvPr>
          <p:cNvSpPr/>
          <p:nvPr userDrawn="1"/>
        </p:nvSpPr>
        <p:spPr>
          <a:xfrm flipH="1">
            <a:off x="6096000" y="1348923"/>
            <a:ext cx="5580378" cy="1863773"/>
          </a:xfrm>
          <a:prstGeom prst="rect">
            <a:avLst/>
          </a:prstGeom>
          <a:solidFill>
            <a:srgbClr val="D355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17DC9A3F-739E-4BB7-9BE4-8BC81A02F73C}"/>
              </a:ext>
            </a:extLst>
          </p:cNvPr>
          <p:cNvGrpSpPr/>
          <p:nvPr userDrawn="1"/>
        </p:nvGrpSpPr>
        <p:grpSpPr>
          <a:xfrm>
            <a:off x="5386437" y="1348923"/>
            <a:ext cx="1041631" cy="5388761"/>
            <a:chOff x="5385829" y="3721984"/>
            <a:chExt cx="1041631" cy="3046016"/>
          </a:xfrm>
        </p:grpSpPr>
        <p:sp>
          <p:nvSpPr>
            <p:cNvPr id="21" name="Rectángulo 20">
              <a:extLst>
                <a:ext uri="{FF2B5EF4-FFF2-40B4-BE49-F238E27FC236}">
                  <a16:creationId xmlns:a16="http://schemas.microsoft.com/office/drawing/2014/main" id="{81E9A4B6-B775-4B30-BE04-CA8ED3AE0B87}"/>
                </a:ext>
              </a:extLst>
            </p:cNvPr>
            <p:cNvSpPr/>
            <p:nvPr/>
          </p:nvSpPr>
          <p:spPr>
            <a:xfrm>
              <a:off x="5713633" y="3721984"/>
              <a:ext cx="713827" cy="3038759"/>
            </a:xfrm>
            <a:prstGeom prst="rect">
              <a:avLst/>
            </a:prstGeom>
            <a:solidFill>
              <a:schemeClr val="tx1">
                <a:alpha val="32000"/>
              </a:schemeClr>
            </a:solidFill>
            <a:ln w="9525">
              <a:noFill/>
            </a:ln>
            <a:effectLst>
              <a:softEdge rad="3302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2" name="Rectángulo 21">
              <a:extLst>
                <a:ext uri="{FF2B5EF4-FFF2-40B4-BE49-F238E27FC236}">
                  <a16:creationId xmlns:a16="http://schemas.microsoft.com/office/drawing/2014/main" id="{F6A0B200-0CC5-4D2A-8AAA-CD30D0FE4F39}"/>
                </a:ext>
              </a:extLst>
            </p:cNvPr>
            <p:cNvSpPr/>
            <p:nvPr/>
          </p:nvSpPr>
          <p:spPr>
            <a:xfrm>
              <a:off x="5385829" y="3729242"/>
              <a:ext cx="713827" cy="303875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8" name="Rectángulo 17">
            <a:extLst>
              <a:ext uri="{FF2B5EF4-FFF2-40B4-BE49-F238E27FC236}">
                <a16:creationId xmlns:a16="http://schemas.microsoft.com/office/drawing/2014/main" id="{F989FA77-B19D-465F-9297-6B15B31BA453}"/>
              </a:ext>
            </a:extLst>
          </p:cNvPr>
          <p:cNvSpPr/>
          <p:nvPr userDrawn="1"/>
        </p:nvSpPr>
        <p:spPr>
          <a:xfrm>
            <a:off x="348307" y="1453437"/>
            <a:ext cx="11447016" cy="1863773"/>
          </a:xfrm>
          <a:prstGeom prst="rect">
            <a:avLst/>
          </a:prstGeom>
          <a:noFill/>
          <a:ln w="12700" cap="flat" cmpd="sng" algn="ctr">
            <a:gradFill>
              <a:gsLst>
                <a:gs pos="27000">
                  <a:srgbClr val="43ABB6"/>
                </a:gs>
                <a:gs pos="52000">
                  <a:srgbClr val="D3553F"/>
                </a:gs>
              </a:gsLst>
              <a:lin ang="0" scaled="0"/>
            </a:gra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cxnSp>
        <p:nvCxnSpPr>
          <p:cNvPr id="24" name="Conector recto 23">
            <a:extLst>
              <a:ext uri="{FF2B5EF4-FFF2-40B4-BE49-F238E27FC236}">
                <a16:creationId xmlns:a16="http://schemas.microsoft.com/office/drawing/2014/main" id="{A749055D-D40F-4C57-95F4-8495AA571D9D}"/>
              </a:ext>
            </a:extLst>
          </p:cNvPr>
          <p:cNvCxnSpPr>
            <a:cxnSpLocks/>
          </p:cNvCxnSpPr>
          <p:nvPr userDrawn="1"/>
        </p:nvCxnSpPr>
        <p:spPr>
          <a:xfrm>
            <a:off x="852717" y="2859796"/>
            <a:ext cx="0" cy="883329"/>
          </a:xfrm>
          <a:prstGeom prst="line">
            <a:avLst/>
          </a:prstGeom>
          <a:ln w="12700">
            <a:solidFill>
              <a:schemeClr val="tx2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cto 28">
            <a:extLst>
              <a:ext uri="{FF2B5EF4-FFF2-40B4-BE49-F238E27FC236}">
                <a16:creationId xmlns:a16="http://schemas.microsoft.com/office/drawing/2014/main" id="{D1DBE710-F316-4A46-A479-92F8C5EDBA6B}"/>
              </a:ext>
            </a:extLst>
          </p:cNvPr>
          <p:cNvCxnSpPr>
            <a:cxnSpLocks/>
          </p:cNvCxnSpPr>
          <p:nvPr userDrawn="1"/>
        </p:nvCxnSpPr>
        <p:spPr>
          <a:xfrm>
            <a:off x="6451060" y="2834396"/>
            <a:ext cx="0" cy="883329"/>
          </a:xfrm>
          <a:prstGeom prst="line">
            <a:avLst/>
          </a:prstGeom>
          <a:ln w="12700">
            <a:solidFill>
              <a:srgbClr val="D3553F"/>
            </a:solidFill>
            <a:prstDash val="dash"/>
            <a:headEnd w="lg" len="med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ángulo 24">
            <a:extLst>
              <a:ext uri="{FF2B5EF4-FFF2-40B4-BE49-F238E27FC236}">
                <a16:creationId xmlns:a16="http://schemas.microsoft.com/office/drawing/2014/main" id="{577DE68B-C390-463D-9DC7-110E49B1EF8B}"/>
              </a:ext>
            </a:extLst>
          </p:cNvPr>
          <p:cNvSpPr/>
          <p:nvPr userDrawn="1"/>
        </p:nvSpPr>
        <p:spPr>
          <a:xfrm>
            <a:off x="467709" y="1348923"/>
            <a:ext cx="5631947" cy="186377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6" name="Marcador de texto 5">
            <a:extLst>
              <a:ext uri="{FF2B5EF4-FFF2-40B4-BE49-F238E27FC236}">
                <a16:creationId xmlns:a16="http://schemas.microsoft.com/office/drawing/2014/main" id="{9A870F9B-D0DC-43A0-ABB3-AB968AB4D2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93346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Marcador de texto 8">
            <a:extLst>
              <a:ext uri="{FF2B5EF4-FFF2-40B4-BE49-F238E27FC236}">
                <a16:creationId xmlns:a16="http://schemas.microsoft.com/office/drawing/2014/main" id="{0D8EE4D9-40DB-41E3-9FE9-6FF0D78AF0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91689" y="3615536"/>
            <a:ext cx="4425133" cy="2484634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2103" y="1614579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2103" y="2032961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37" name="Marcador de texto 31">
            <a:extLst>
              <a:ext uri="{FF2B5EF4-FFF2-40B4-BE49-F238E27FC236}">
                <a16:creationId xmlns:a16="http://schemas.microsoft.com/office/drawing/2014/main" id="{9551043E-38D0-497E-8ACD-F227943B8E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447963" y="1621924"/>
            <a:ext cx="4644000" cy="394910"/>
          </a:xfrm>
        </p:spPr>
        <p:txBody>
          <a:bodyPr anchor="ctr"/>
          <a:lstStyle>
            <a:lvl1pPr>
              <a:defRPr sz="2800" b="1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8" name="Marcador de texto 33">
            <a:extLst>
              <a:ext uri="{FF2B5EF4-FFF2-40B4-BE49-F238E27FC236}">
                <a16:creationId xmlns:a16="http://schemas.microsoft.com/office/drawing/2014/main" id="{DCC3E33E-CD51-4D68-AC6D-45EE432938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7963" y="2040306"/>
            <a:ext cx="4644000" cy="986302"/>
          </a:xfrm>
        </p:spPr>
        <p:txBody>
          <a:bodyPr/>
          <a:lstStyle>
            <a:lvl1pPr>
              <a:defRPr sz="14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F4890D2-1EE3-3B73-623E-43301D70B4CB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671466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inform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ángulo 18">
            <a:extLst>
              <a:ext uri="{FF2B5EF4-FFF2-40B4-BE49-F238E27FC236}">
                <a16:creationId xmlns:a16="http://schemas.microsoft.com/office/drawing/2014/main" id="{99DF4E13-A196-4A1F-982F-A79E11E60F28}"/>
              </a:ext>
            </a:extLst>
          </p:cNvPr>
          <p:cNvSpPr/>
          <p:nvPr userDrawn="1"/>
        </p:nvSpPr>
        <p:spPr>
          <a:xfrm>
            <a:off x="0" y="2257623"/>
            <a:ext cx="12192000" cy="3392740"/>
          </a:xfrm>
          <a:prstGeom prst="rect">
            <a:avLst/>
          </a:prstGeom>
          <a:solidFill>
            <a:srgbClr val="D3553F">
              <a:alpha val="1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anklin Gothic Book"/>
              <a:ea typeface="+mn-ea"/>
              <a:cs typeface="+mn-cs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F03D36B0-D8D7-4719-A74B-706B315234CA}"/>
              </a:ext>
            </a:extLst>
          </p:cNvPr>
          <p:cNvSpPr/>
          <p:nvPr userDrawn="1"/>
        </p:nvSpPr>
        <p:spPr>
          <a:xfrm>
            <a:off x="2883635" y="1833800"/>
            <a:ext cx="6607561" cy="1702587"/>
          </a:xfrm>
          <a:prstGeom prst="rect">
            <a:avLst/>
          </a:prstGeom>
          <a:solidFill>
            <a:schemeClr val="tx1">
              <a:alpha val="31000"/>
            </a:schemeClr>
          </a:solidFill>
          <a:ln>
            <a:noFill/>
          </a:ln>
          <a:effectLst>
            <a:softEdge rad="20320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B613C63C-FDC8-46A5-9FB2-C9505D609D48}"/>
              </a:ext>
            </a:extLst>
          </p:cNvPr>
          <p:cNvSpPr/>
          <p:nvPr userDrawn="1"/>
        </p:nvSpPr>
        <p:spPr>
          <a:xfrm>
            <a:off x="2747610" y="1833799"/>
            <a:ext cx="6567115" cy="1702588"/>
          </a:xfrm>
          <a:prstGeom prst="rect">
            <a:avLst/>
          </a:prstGeom>
          <a:noFill/>
          <a:ln w="12700">
            <a:solidFill>
              <a:srgbClr val="43ABB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100" normalizeH="0" baseline="0" noProof="0" dirty="0">
              <a:ln>
                <a:noFill/>
              </a:ln>
              <a:solidFill>
                <a:srgbClr val="C5CED5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05BFB397-0A46-4C7C-A573-9FE7441CDA01}"/>
              </a:ext>
            </a:extLst>
          </p:cNvPr>
          <p:cNvSpPr/>
          <p:nvPr userDrawn="1"/>
        </p:nvSpPr>
        <p:spPr>
          <a:xfrm>
            <a:off x="2877267" y="1833798"/>
            <a:ext cx="6437465" cy="1702589"/>
          </a:xfrm>
          <a:prstGeom prst="rect">
            <a:avLst/>
          </a:prstGeom>
          <a:solidFill>
            <a:srgbClr val="43ABB6"/>
          </a:solidFill>
          <a:ln>
            <a:noFill/>
          </a:ln>
          <a:effectLst>
            <a:outerShdw blurRad="114300" dist="38100" dir="360000" algn="tl" rotWithShape="0">
              <a:prstClr val="black">
                <a:alpha val="13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endParaRPr lang="en-GB" sz="1400" spc="100" dirty="0">
              <a:solidFill>
                <a:srgbClr val="FFFFFF">
                  <a:alpha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Marcador de texto 31">
            <a:extLst>
              <a:ext uri="{FF2B5EF4-FFF2-40B4-BE49-F238E27FC236}">
                <a16:creationId xmlns:a16="http://schemas.microsoft.com/office/drawing/2014/main" id="{12096F7E-5977-4FBA-BA7D-C1E063EACDE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31851" y="1956340"/>
            <a:ext cx="6128297" cy="720000"/>
          </a:xfrm>
        </p:spPr>
        <p:txBody>
          <a:bodyPr anchor="b"/>
          <a:lstStyle>
            <a:lvl1pPr algn="ctr">
              <a:defRPr sz="2800" b="1" cap="all" baseline="0">
                <a:solidFill>
                  <a:srgbClr val="FFFFFF"/>
                </a:solidFill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noProof="0" dirty="0"/>
              <a:t>Title</a:t>
            </a:r>
          </a:p>
        </p:txBody>
      </p:sp>
      <p:sp>
        <p:nvSpPr>
          <p:cNvPr id="34" name="Marcador de texto 33">
            <a:extLst>
              <a:ext uri="{FF2B5EF4-FFF2-40B4-BE49-F238E27FC236}">
                <a16:creationId xmlns:a16="http://schemas.microsoft.com/office/drawing/2014/main" id="{3A7B9A7A-18B8-4968-BA6B-C82CA0F5CDF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031851" y="2714279"/>
            <a:ext cx="6128297" cy="720000"/>
          </a:xfrm>
        </p:spPr>
        <p:txBody>
          <a:bodyPr/>
          <a:lstStyle>
            <a:lvl1pPr algn="ctr">
              <a:defRPr sz="1800" baseline="0">
                <a:solidFill>
                  <a:schemeClr val="bg1">
                    <a:alpha val="75000"/>
                  </a:schemeClr>
                </a:solidFill>
              </a:defRPr>
            </a:lvl1pPr>
          </a:lstStyle>
          <a:p>
            <a:pPr lvl="0"/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endParaRPr lang="en-US" noProof="0" dirty="0"/>
          </a:p>
        </p:txBody>
      </p:sp>
      <p:cxnSp>
        <p:nvCxnSpPr>
          <p:cNvPr id="30" name="Conector recto 29">
            <a:extLst>
              <a:ext uri="{FF2B5EF4-FFF2-40B4-BE49-F238E27FC236}">
                <a16:creationId xmlns:a16="http://schemas.microsoft.com/office/drawing/2014/main" id="{54609F7D-AEC1-45B7-854E-FBF4BBA488C1}"/>
              </a:ext>
            </a:extLst>
          </p:cNvPr>
          <p:cNvCxnSpPr>
            <a:cxnSpLocks/>
          </p:cNvCxnSpPr>
          <p:nvPr userDrawn="1"/>
        </p:nvCxnSpPr>
        <p:spPr>
          <a:xfrm>
            <a:off x="3034126" y="3536387"/>
            <a:ext cx="0" cy="445894"/>
          </a:xfrm>
          <a:prstGeom prst="line">
            <a:avLst/>
          </a:prstGeom>
          <a:ln w="12700" cap="rnd">
            <a:solidFill>
              <a:srgbClr val="D3553F"/>
            </a:solidFill>
            <a:prstDash val="dash"/>
            <a:tailEnd type="diamond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67734D-077E-4843-BFC9-1D1FFC0259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202440" y="3875487"/>
            <a:ext cx="5957706" cy="1600438"/>
          </a:xfrm>
        </p:spPr>
        <p:txBody>
          <a:bodyPr/>
          <a:lstStyle>
            <a:lvl1pPr>
              <a:defRPr sz="1400" b="1">
                <a:solidFill>
                  <a:srgbClr val="D3553F"/>
                </a:solidFill>
              </a:defRPr>
            </a:lvl1pPr>
          </a:lstStyle>
          <a:p>
            <a:pPr lvl="0"/>
            <a:r>
              <a:rPr lang="es-ES" dirty="0"/>
              <a:t>Text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2D5AC2-731E-15F8-3950-7F76DF23ABD0}"/>
              </a:ext>
            </a:extLst>
          </p:cNvPr>
          <p:cNvSpPr txBox="1">
            <a:spLocks/>
          </p:cNvSpPr>
          <p:nvPr userDrawn="1"/>
        </p:nvSpPr>
        <p:spPr>
          <a:xfrm>
            <a:off x="1190341" y="227013"/>
            <a:ext cx="9461269" cy="7623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0" kern="1200" cap="all" spc="300" baseline="0">
                <a:solidFill>
                  <a:srgbClr val="8C9EAB"/>
                </a:solidFill>
                <a:latin typeface="Franklin Gothic Medium"/>
                <a:ea typeface="+mj-ea"/>
                <a:cs typeface="Franklin Gothic Medium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356460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BDE826D-6E69-4E2C-9278-C90B59C88619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A2259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1" i="0" baseline="0" dirty="0" err="1">
              <a:solidFill>
                <a:srgbClr val="000000"/>
              </a:solidFill>
              <a:latin typeface="Franklin Gothic Medium" panose="020B0603020102020204" pitchFamily="34" charset="0"/>
              <a:ea typeface="+mj-ea"/>
              <a:cs typeface="Arial" pitchFamily="34" charset="0"/>
              <a:sym typeface="Franklin Gothic Medium" panose="020B0603020102020204" pitchFamily="34" charset="0"/>
            </a:endParaRP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62709" y="1508125"/>
            <a:ext cx="11068539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11396786" y="6483356"/>
            <a:ext cx="234463" cy="133350"/>
          </a:xfrm>
          <a:prstGeom prst="rect">
            <a:avLst/>
          </a:prstGeom>
        </p:spPr>
        <p:txBody>
          <a:bodyPr vert="horz" wrap="none" lIns="0" tIns="0" rIns="0" bIns="0" rtlCol="0" anchor="t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14D992F-7007-473D-9CAC-8B17A67E3C5E}" type="slidenum">
              <a:rPr lang="en-US" sz="900" smtClean="0">
                <a:solidFill>
                  <a:srgbClr val="5A2259"/>
                </a:solidFill>
              </a:rPr>
              <a:pPr>
                <a:defRPr/>
              </a:pPr>
              <a:t>‹#›</a:t>
            </a:fld>
            <a:endParaRPr lang="en-US" sz="900" dirty="0">
              <a:solidFill>
                <a:srgbClr val="5A2259"/>
              </a:solidFill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08D76A75-1154-4ECC-8C0B-DCF50CEE654F}"/>
              </a:ext>
            </a:extLst>
          </p:cNvPr>
          <p:cNvSpPr/>
          <p:nvPr userDrawn="1"/>
        </p:nvSpPr>
        <p:spPr>
          <a:xfrm>
            <a:off x="0" y="497001"/>
            <a:ext cx="243730" cy="540000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100000">
                <a:schemeClr val="accent6"/>
              </a:gs>
            </a:gsLst>
            <a:lin ang="54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Rectángulo 22">
            <a:extLst>
              <a:ext uri="{FF2B5EF4-FFF2-40B4-BE49-F238E27FC236}">
                <a16:creationId xmlns:a16="http://schemas.microsoft.com/office/drawing/2014/main" id="{1FE64F5C-7B9C-4791-970E-61569465B98C}"/>
              </a:ext>
            </a:extLst>
          </p:cNvPr>
          <p:cNvSpPr/>
          <p:nvPr userDrawn="1"/>
        </p:nvSpPr>
        <p:spPr>
          <a:xfrm>
            <a:off x="0" y="6768000"/>
            <a:ext cx="12192000" cy="90000"/>
          </a:xfrm>
          <a:prstGeom prst="rect">
            <a:avLst/>
          </a:prstGeom>
          <a:gradFill>
            <a:gsLst>
              <a:gs pos="0">
                <a:schemeClr val="tx2"/>
              </a:gs>
              <a:gs pos="100000">
                <a:schemeClr val="accent6"/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8C9F09AB-38FF-4F16-BDAD-DC3FB40BBDB0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10363029" y="256205"/>
            <a:ext cx="1561591" cy="7807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EC26A64-C6B6-A5B4-2369-A1B5E4942B59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37" y="256205"/>
            <a:ext cx="899409" cy="91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19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8" r:id="rId1"/>
    <p:sldLayoutId id="2147485489" r:id="rId2"/>
    <p:sldLayoutId id="2147485476" r:id="rId3"/>
    <p:sldLayoutId id="2147485495" r:id="rId4"/>
    <p:sldLayoutId id="2147485490" r:id="rId5"/>
    <p:sldLayoutId id="2147485491" r:id="rId6"/>
    <p:sldLayoutId id="2147485494" r:id="rId7"/>
    <p:sldLayoutId id="2147485492" r:id="rId8"/>
    <p:sldLayoutId id="2147485493" r:id="rId9"/>
    <p:sldLayoutId id="2147485496" r:id="rId10"/>
    <p:sldLayoutId id="2147485498" r:id="rId11"/>
    <p:sldLayoutId id="2147485497" r:id="rId12"/>
    <p:sldLayoutId id="2147485499" r:id="rId13"/>
    <p:sldLayoutId id="2147485500" r:id="rId14"/>
    <p:sldLayoutId id="2147485501" r:id="rId15"/>
    <p:sldLayoutId id="2147485509" r:id="rId16"/>
    <p:sldLayoutId id="2147485510" r:id="rId17"/>
  </p:sldLayoutIdLst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0" kern="1200" cap="all" spc="300" baseline="0">
          <a:solidFill>
            <a:srgbClr val="8C9EAB"/>
          </a:solidFill>
          <a:latin typeface="Franklin Gothic Medium"/>
          <a:ea typeface="+mj-ea"/>
          <a:cs typeface="Franklin Gothic Medium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defRPr sz="2400" b="0" kern="1200" spc="100" baseline="0">
          <a:solidFill>
            <a:srgbClr val="4C5B68"/>
          </a:solidFill>
          <a:latin typeface="+mn-lt"/>
          <a:ea typeface="+mn-ea"/>
          <a:cs typeface="+mn-cs"/>
        </a:defRPr>
      </a:lvl1pPr>
      <a:lvl2pPr marL="274638" indent="-274638" algn="l" rtl="0" eaLnBrk="1" fontAlgn="base" hangingPunct="1">
        <a:spcBef>
          <a:spcPct val="20000"/>
        </a:spcBef>
        <a:spcAft>
          <a:spcPct val="0"/>
        </a:spcAft>
        <a:buClr>
          <a:srgbClr val="5A2259"/>
        </a:buClr>
        <a:buFont typeface="Wingdings" panose="05000000000000000000" pitchFamily="2" charset="2"/>
        <a:buChar char="§"/>
        <a:tabLst/>
        <a:defRPr sz="2000" kern="1200">
          <a:solidFill>
            <a:srgbClr val="5A2259"/>
          </a:solidFill>
          <a:latin typeface="Franklin Gothic Medium" panose="020B0603020102020204" pitchFamily="34" charset="0"/>
          <a:ea typeface="+mn-ea"/>
          <a:cs typeface="+mn-cs"/>
        </a:defRPr>
      </a:lvl2pPr>
      <a:lvl3pPr marL="274638" indent="-27463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panose="05000000000000000000" pitchFamily="2" charset="2"/>
        <a:buChar char="§"/>
        <a:tabLst/>
        <a:defRPr sz="1600" kern="1200">
          <a:solidFill>
            <a:srgbClr val="43ABB6"/>
          </a:solidFill>
          <a:latin typeface="Franklin Gothic Medium" panose="020B0603020102020204" pitchFamily="34" charset="0"/>
          <a:ea typeface="+mn-ea"/>
          <a:cs typeface="+mn-cs"/>
        </a:defRPr>
      </a:lvl3pPr>
      <a:lvl4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E93F47"/>
        </a:buClr>
        <a:buFont typeface="Wingdings" panose="05000000000000000000" pitchFamily="2" charset="2"/>
        <a:buChar char="§"/>
        <a:tabLst/>
        <a:defRPr sz="1400" kern="1200">
          <a:solidFill>
            <a:srgbClr val="D3553F"/>
          </a:solidFill>
          <a:latin typeface="Franklin Gothic Medium" panose="020B0603020102020204" pitchFamily="34" charset="0"/>
          <a:ea typeface="+mn-ea"/>
          <a:cs typeface="+mn-cs"/>
        </a:defRPr>
      </a:lvl4pPr>
      <a:lvl5pPr marL="274638" indent="-265113" algn="l" rtl="0" eaLnBrk="1" fontAlgn="base" hangingPunct="1">
        <a:spcBef>
          <a:spcPct val="20000"/>
        </a:spcBef>
        <a:spcAft>
          <a:spcPct val="0"/>
        </a:spcAft>
        <a:buClr>
          <a:srgbClr val="8C9EAB"/>
        </a:buClr>
        <a:buFont typeface="Wingdings" panose="05000000000000000000" pitchFamily="2" charset="2"/>
        <a:buChar char="§"/>
        <a:tabLst/>
        <a:defRPr sz="1200" kern="1200">
          <a:solidFill>
            <a:srgbClr val="8C9EAB"/>
          </a:solidFill>
          <a:latin typeface="Franklin Gothic Medium" panose="020B06030201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39AF35-02DA-E2A6-BBBB-180F1665BAB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93521" y="5781269"/>
            <a:ext cx="3953466" cy="497069"/>
          </a:xfrm>
        </p:spPr>
        <p:txBody>
          <a:bodyPr wrap="square" anchor="t">
            <a:normAutofit/>
          </a:bodyPr>
          <a:lstStyle/>
          <a:p>
            <a:r>
              <a:rPr lang="en-US" b="1" dirty="0"/>
              <a:t>10-12-2024</a:t>
            </a:r>
            <a:endParaRPr lang="en-IN" b="1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67D699D-9251-A6CD-9B00-4EDD82B4D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3521" y="3986157"/>
            <a:ext cx="3132000" cy="831850"/>
          </a:xfrm>
        </p:spPr>
        <p:txBody>
          <a:bodyPr anchor="b">
            <a:normAutofit/>
          </a:bodyPr>
          <a:lstStyle/>
          <a:p>
            <a:r>
              <a:rPr lang="en-IN"/>
              <a:t> 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6A141C7-82EF-AD22-B793-DD9D7DAB6CF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5311" y="4369757"/>
            <a:ext cx="3865977" cy="831850"/>
          </a:xfrm>
        </p:spPr>
        <p:txBody>
          <a:bodyPr wrap="square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>
                    <a:alpha val="85000"/>
                  </a:schemeClr>
                </a:solidFill>
              </a:rPr>
              <a:t>mWRD EQA -KEY COMPONENTS </a:t>
            </a:r>
          </a:p>
          <a:p>
            <a:pPr>
              <a:spcAft>
                <a:spcPts val="600"/>
              </a:spcAft>
            </a:pPr>
            <a:r>
              <a:rPr lang="en-US" sz="2400" b="1" dirty="0">
                <a:solidFill>
                  <a:schemeClr val="bg1">
                    <a:alpha val="85000"/>
                  </a:schemeClr>
                </a:solidFill>
              </a:rPr>
              <a:t>(GeneXpert &amp; Truenat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A759B3-CDAD-9DF7-98FC-B14494E8BF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9816" y="0"/>
            <a:ext cx="733743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1763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EF2567-C503-7CBF-9129-1E5B8529D1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CB2EC74-4BEE-8EE4-FC5C-A02F4D776717}"/>
              </a:ext>
            </a:extLst>
          </p:cNvPr>
          <p:cNvSpPr txBox="1"/>
          <p:nvPr/>
        </p:nvSpPr>
        <p:spPr>
          <a:xfrm>
            <a:off x="1080530" y="275138"/>
            <a:ext cx="9095857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Summary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687E733-1A4A-8F61-52F4-5888B5613D7A}"/>
              </a:ext>
            </a:extLst>
          </p:cNvPr>
          <p:cNvSpPr txBox="1"/>
          <p:nvPr/>
        </p:nvSpPr>
        <p:spPr>
          <a:xfrm>
            <a:off x="594851" y="1382534"/>
            <a:ext cx="11002297" cy="3268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400" spc="100" dirty="0">
                <a:solidFill>
                  <a:srgbClr val="4C5B68"/>
                </a:solidFill>
              </a:rPr>
              <a:t>Quality assurance is integral and key component of lab activities and is not  additional activity</a:t>
            </a:r>
          </a:p>
          <a:p>
            <a:pPr marL="457200" indent="-45720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AU" sz="2400" spc="100" dirty="0">
                <a:solidFill>
                  <a:srgbClr val="4C5B68"/>
                </a:solidFill>
              </a:rPr>
              <a:t>All quality assurance activities must be documented</a:t>
            </a:r>
          </a:p>
          <a:p>
            <a:pPr marL="457200" indent="-45720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AU" sz="2400" spc="100" dirty="0">
                <a:solidFill>
                  <a:srgbClr val="4C5B68"/>
                </a:solidFill>
              </a:rPr>
              <a:t>Feedback to testing sites and implementing corrective and preventive measures are the most critical aspects of any quality assurance programme</a:t>
            </a:r>
          </a:p>
          <a:p>
            <a:pPr marL="457200" indent="-45720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2400" spc="100" dirty="0">
                <a:solidFill>
                  <a:srgbClr val="4C5B68"/>
                </a:solidFill>
              </a:rPr>
              <a:t>Quality assurance is essential to all the GeneXpert  placed in a TB control programme.</a:t>
            </a:r>
          </a:p>
        </p:txBody>
      </p:sp>
    </p:spTree>
    <p:extLst>
      <p:ext uri="{BB962C8B-B14F-4D97-AF65-F5344CB8AC3E}">
        <p14:creationId xmlns:p14="http://schemas.microsoft.com/office/powerpoint/2010/main" val="24937499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58C86718-AC0C-CD84-C149-A167E3F65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44877" y="1980326"/>
            <a:ext cx="6371303" cy="2098018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2696" rIns="0" bIns="-12696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bn-IN" altLang="en-US" sz="138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inherit"/>
                <a:cs typeface="Vrinda" panose="020B0502040204020203" pitchFamily="34" charset="0"/>
              </a:rPr>
              <a:t>ধন্যবাদ</a:t>
            </a:r>
            <a:r>
              <a:rPr kumimoji="0" lang="bn-IN" altLang="en-US" sz="4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cs typeface="Vrinda" panose="020B0502040204020203" pitchFamily="34" charset="0"/>
              </a:rPr>
              <a:t> </a:t>
            </a:r>
            <a:endParaRPr kumimoji="0" lang="en-US" altLang="en-US" sz="115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1027" name="Picture 3" descr="Is there a symbol for the word Namaste? - Quora">
            <a:extLst>
              <a:ext uri="{FF2B5EF4-FFF2-40B4-BE49-F238E27FC236}">
                <a16:creationId xmlns:a16="http://schemas.microsoft.com/office/drawing/2014/main" id="{5361C444-B4E6-F947-AE56-4FE10B3C18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0534" y="4138132"/>
            <a:ext cx="1990725" cy="229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611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F72100E8-52B1-3F03-EFA3-3219D3D6970C}"/>
              </a:ext>
            </a:extLst>
          </p:cNvPr>
          <p:cNvSpPr txBox="1"/>
          <p:nvPr/>
        </p:nvSpPr>
        <p:spPr>
          <a:xfrm>
            <a:off x="1360449" y="256477"/>
            <a:ext cx="9177453" cy="861774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>
            <a:defPPr>
              <a:defRPr lang="en-US"/>
            </a:defPPr>
            <a:lvl1pPr algn="ct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onten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C68A92D-FC7A-2588-A335-296753518F5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Key components of mWRD Quality Assurance programme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Contents of package to the si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EQA implementation cycl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Summar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4693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23E0327-3D0D-13BF-30D4-1AEB743FCBCE}"/>
              </a:ext>
            </a:extLst>
          </p:cNvPr>
          <p:cNvSpPr txBox="1"/>
          <p:nvPr/>
        </p:nvSpPr>
        <p:spPr>
          <a:xfrm>
            <a:off x="1360449" y="256477"/>
            <a:ext cx="9177453" cy="1538883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/>
                </a:solidFill>
              </a:rPr>
              <a:t>Key components of mWRD quality assurance program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B51989A-DF25-DCD0-19F4-4F018B0B2439}"/>
              </a:ext>
            </a:extLst>
          </p:cNvPr>
          <p:cNvGrpSpPr/>
          <p:nvPr/>
        </p:nvGrpSpPr>
        <p:grpSpPr>
          <a:xfrm>
            <a:off x="745440" y="1902542"/>
            <a:ext cx="10135919" cy="4781722"/>
            <a:chOff x="-40943" y="1744724"/>
            <a:chExt cx="9219822" cy="5068449"/>
          </a:xfrm>
        </p:grpSpPr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3BACD819-819A-E3E2-ECE2-F60AB8A438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0943" y="1744724"/>
              <a:ext cx="9185804" cy="42739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57929819-A929-DC91-7D0B-82296A28DDAA}"/>
                </a:ext>
              </a:extLst>
            </p:cNvPr>
            <p:cNvSpPr txBox="1"/>
            <p:nvPr/>
          </p:nvSpPr>
          <p:spPr>
            <a:xfrm>
              <a:off x="-18887" y="3623758"/>
              <a:ext cx="1098017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DEF5FA">
                      <a:lumMod val="10000"/>
                    </a:srgbClr>
                  </a:solidFill>
                  <a:latin typeface="Arial" charset="0"/>
                </a:rPr>
                <a:t>Environment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Safe and functional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emperature control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GB" sz="1100" dirty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87EE343-120F-17FC-F564-33BBAF0167DD}"/>
                </a:ext>
              </a:extLst>
            </p:cNvPr>
            <p:cNvSpPr/>
            <p:nvPr/>
          </p:nvSpPr>
          <p:spPr>
            <a:xfrm>
              <a:off x="1254289" y="3625276"/>
              <a:ext cx="1033428" cy="16158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srgbClr val="DEF5FA">
                      <a:lumMod val="10000"/>
                    </a:srgbClr>
                  </a:solidFill>
                  <a:latin typeface="Arial" charset="0"/>
                </a:rPr>
                <a:t>Personnel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rained and competent staff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est user is documented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Current SOPs readily available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BCEF2050-2A7C-9641-DE51-D8AE7860679C}"/>
                </a:ext>
              </a:extLst>
            </p:cNvPr>
            <p:cNvSpPr/>
            <p:nvPr/>
          </p:nvSpPr>
          <p:spPr>
            <a:xfrm>
              <a:off x="2382845" y="3660003"/>
              <a:ext cx="1098016" cy="6001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Equipment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Maintained and serviced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D14EA49-6054-2B3F-5165-041361F9E63D}"/>
                </a:ext>
              </a:extLst>
            </p:cNvPr>
            <p:cNvSpPr/>
            <p:nvPr/>
          </p:nvSpPr>
          <p:spPr>
            <a:xfrm>
              <a:off x="3465701" y="3620498"/>
              <a:ext cx="1145194" cy="1277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Supplies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Uninterrupted supplies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Appropriate transport and storage condition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4F89C2C-C2DF-FE4C-1E99-EEEC273A8E2E}"/>
                </a:ext>
              </a:extLst>
            </p:cNvPr>
            <p:cNvSpPr/>
            <p:nvPr/>
          </p:nvSpPr>
          <p:spPr>
            <a:xfrm>
              <a:off x="4719835" y="3620498"/>
              <a:ext cx="1034141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Specimens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Good quality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unique ID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Completed TRF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FF8A19B-D2D2-69B6-7B18-FD6E59FC7A68}"/>
                </a:ext>
              </a:extLst>
            </p:cNvPr>
            <p:cNvSpPr/>
            <p:nvPr/>
          </p:nvSpPr>
          <p:spPr>
            <a:xfrm>
              <a:off x="5873252" y="3643860"/>
              <a:ext cx="968838" cy="11079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Internal quality monitoring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est working properly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1E1109C-D158-F15F-8A07-FD6B35A91085}"/>
                </a:ext>
              </a:extLst>
            </p:cNvPr>
            <p:cNvSpPr/>
            <p:nvPr/>
          </p:nvSpPr>
          <p:spPr>
            <a:xfrm>
              <a:off x="6950448" y="3635104"/>
              <a:ext cx="1020909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External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Quality Assessment (EQA)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esting site‘s work checked by another  sit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B79734E-13EE-ED30-E78B-585D53B1AAA7}"/>
                </a:ext>
              </a:extLst>
            </p:cNvPr>
            <p:cNvSpPr/>
            <p:nvPr/>
          </p:nvSpPr>
          <p:spPr>
            <a:xfrm>
              <a:off x="8132932" y="3620588"/>
              <a:ext cx="1045947" cy="1277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dirty="0">
                  <a:solidFill>
                    <a:prstClr val="black"/>
                  </a:solidFill>
                  <a:latin typeface="Arial" charset="0"/>
                </a:rPr>
                <a:t>Accurate and timely reporting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- Turnaround tim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>
                  <a:solidFill>
                    <a:prstClr val="white"/>
                  </a:solidFill>
                  <a:latin typeface="Arial" charset="0"/>
                </a:rPr>
                <a:t>Results review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0C6B1249-1B34-4147-A610-5B3AF4C386E9}"/>
                </a:ext>
              </a:extLst>
            </p:cNvPr>
            <p:cNvSpPr txBox="1"/>
            <p:nvPr/>
          </p:nvSpPr>
          <p:spPr>
            <a:xfrm>
              <a:off x="2806259" y="5293679"/>
              <a:ext cx="404472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>
                  <a:solidFill>
                    <a:prstClr val="black"/>
                  </a:solidFill>
                  <a:latin typeface="Arial" charset="0"/>
                </a:rPr>
                <a:t>Accurate, reliable and timely results</a:t>
              </a:r>
            </a:p>
          </p:txBody>
        </p:sp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15F7BB20-4A8B-F17A-C39F-7B45A5CCBA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5842" y="6071629"/>
              <a:ext cx="1011029" cy="7415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50667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70D687E-C1B9-FADA-BEB3-B622CAC70106}"/>
              </a:ext>
            </a:extLst>
          </p:cNvPr>
          <p:cNvSpPr txBox="1"/>
          <p:nvPr/>
        </p:nvSpPr>
        <p:spPr>
          <a:xfrm>
            <a:off x="1360449" y="256477"/>
            <a:ext cx="9177453" cy="861774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accent1"/>
                </a:solidFill>
              </a:rPr>
              <a:t>What is Quality Assurance   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15CF2BF8-B024-26D7-BC9A-6242C5016D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Quality assurance (QA) in laboratories incorporates all the factors that may influence the generation of reliable results. </a:t>
            </a:r>
          </a:p>
          <a:p>
            <a:r>
              <a:rPr lang="en-US" sz="2800" dirty="0"/>
              <a:t>It comprises three key components. </a:t>
            </a:r>
          </a:p>
          <a:p>
            <a:pPr lvl="1"/>
            <a:r>
              <a:rPr lang="en-US" sz="2800" dirty="0"/>
              <a:t>Internal quality control (IQC) </a:t>
            </a:r>
          </a:p>
          <a:p>
            <a:pPr lvl="1"/>
            <a:r>
              <a:rPr lang="en-US" sz="2800" dirty="0"/>
              <a:t>External quality assessment (EQA)</a:t>
            </a:r>
          </a:p>
          <a:p>
            <a:pPr lvl="1"/>
            <a:r>
              <a:rPr lang="en-US" sz="2800" dirty="0"/>
              <a:t>Quality improvement (QI)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1048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4FF1C3-CF90-209C-CD8F-A8AADEAA6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5F9CF20D-3C03-E16E-3FE6-434CE1A45844}"/>
              </a:ext>
            </a:extLst>
          </p:cNvPr>
          <p:cNvSpPr txBox="1"/>
          <p:nvPr/>
        </p:nvSpPr>
        <p:spPr>
          <a:xfrm>
            <a:off x="1360449" y="256477"/>
            <a:ext cx="9451930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Components of Quality assuranc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00632B2-3CA9-0923-0A6D-3EC367A0B1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Internal quality control (IQC) </a:t>
            </a:r>
            <a:r>
              <a:rPr lang="en-US" sz="2800" dirty="0"/>
              <a:t>It’s a systematic internal monitoring of working practices, technical procedures, equipment and materials. </a:t>
            </a:r>
            <a:r>
              <a:rPr lang="en-US" sz="2800" dirty="0">
                <a:solidFill>
                  <a:schemeClr val="tx1"/>
                </a:solidFill>
              </a:rPr>
              <a:t>It is inbuild in GX and Truenat.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External quality assessment (EQA): </a:t>
            </a:r>
            <a:r>
              <a:rPr lang="en-US" sz="2800" dirty="0"/>
              <a:t>A process to assess laboratory performance (Pre analytical, Analytical &amp; Post Analytical). This component is necessary to ensure comparability of results among laboratorie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chemeClr val="tx1"/>
                </a:solidFill>
              </a:rPr>
              <a:t>Quality improvement (QI): </a:t>
            </a:r>
            <a:r>
              <a:rPr lang="en-US" sz="2800" dirty="0"/>
              <a:t>Involves continued monitoring, identifying the gaps, followed by remedial action including retraining when needed, to prevent recurrence of problems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8600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71E8631-2ED7-EAA1-9F91-80F040DA4E4D}"/>
              </a:ext>
            </a:extLst>
          </p:cNvPr>
          <p:cNvSpPr txBox="1"/>
          <p:nvPr/>
        </p:nvSpPr>
        <p:spPr>
          <a:xfrm>
            <a:off x="1080530" y="407873"/>
            <a:ext cx="9376076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Why EQA?</a:t>
            </a:r>
          </a:p>
        </p:txBody>
      </p:sp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7EBA3D8F-F5F3-1428-51DF-F866DB1153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975" y="1508125"/>
            <a:ext cx="11069638" cy="4591050"/>
          </a:xfrm>
        </p:spPr>
        <p:txBody>
          <a:bodyPr vert="horz" lIns="91440" tIns="45720" rIns="91440" bIns="45720" rtlCol="0"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QA is also termed as proficiency testing and method </a:t>
            </a:r>
            <a:r>
              <a:rPr lang="en-IN" dirty="0"/>
              <a:t>to assess laboratory performance</a:t>
            </a:r>
            <a:r>
              <a:rPr lang="en-GB" dirty="0"/>
              <a:t>(Pre analytical, analytical &amp; Post analytical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EQA strongly contributes to continuous quality improvement of laboratory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dirty="0"/>
              <a:t>Participating laboratories benefit because external quality assessment:</a:t>
            </a:r>
            <a:endParaRPr lang="en-IN" dirty="0"/>
          </a:p>
          <a:p>
            <a:pPr lvl="4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serves as an early warning system,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AU" sz="2000" dirty="0">
                <a:solidFill>
                  <a:schemeClr val="tx1"/>
                </a:solidFill>
              </a:rPr>
              <a:t> identifies systematic problems, 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provides objective evidence of laboratory quality,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serves as an indicator for focusing improvement efforts,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identifies training needs,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provides a source for continuing education,</a:t>
            </a:r>
            <a:endParaRPr lang="en-IN" sz="2000" dirty="0">
              <a:solidFill>
                <a:schemeClr val="tx1"/>
              </a:solidFill>
            </a:endParaRPr>
          </a:p>
          <a:p>
            <a:pPr lvl="4">
              <a:buFont typeface="Wingdings" panose="05000000000000000000" pitchFamily="2" charset="2"/>
              <a:buChar char="ü"/>
            </a:pPr>
            <a:r>
              <a:rPr lang="en-US" sz="2000" dirty="0">
                <a:solidFill>
                  <a:schemeClr val="tx1"/>
                </a:solidFill>
              </a:rPr>
              <a:t> provides a source of materials for practice</a:t>
            </a:r>
          </a:p>
        </p:txBody>
      </p:sp>
    </p:spTree>
    <p:extLst>
      <p:ext uri="{BB962C8B-B14F-4D97-AF65-F5344CB8AC3E}">
        <p14:creationId xmlns:p14="http://schemas.microsoft.com/office/powerpoint/2010/main" val="16303044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2EE400-DAE8-854D-7D50-A3B451FDBA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EDE93B5-32AF-0C27-2758-8D253CDCB0A4}"/>
              </a:ext>
            </a:extLst>
          </p:cNvPr>
          <p:cNvSpPr txBox="1"/>
          <p:nvPr/>
        </p:nvSpPr>
        <p:spPr>
          <a:xfrm>
            <a:off x="1080530" y="275138"/>
            <a:ext cx="9715289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Components of mWRD EQA package</a:t>
            </a:r>
          </a:p>
        </p:txBody>
      </p:sp>
      <p:sp>
        <p:nvSpPr>
          <p:cNvPr id="4" name="TextBox 90">
            <a:extLst>
              <a:ext uri="{FF2B5EF4-FFF2-40B4-BE49-F238E27FC236}">
                <a16:creationId xmlns:a16="http://schemas.microsoft.com/office/drawing/2014/main" id="{3F3A6135-4975-6A07-8345-D8416D73FB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7843" y="5559484"/>
            <a:ext cx="2741471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</a:t>
            </a:r>
            <a:r>
              <a:rPr kumimoji="0" lang="en-US" altLang="fr-FR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Panel Tubes</a:t>
            </a:r>
            <a:endParaRPr kumimoji="0" lang="en-US" alt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6" name="TextBox 100">
            <a:extLst>
              <a:ext uri="{FF2B5EF4-FFF2-40B4-BE49-F238E27FC236}">
                <a16:creationId xmlns:a16="http://schemas.microsoft.com/office/drawing/2014/main" id="{581F42F3-86F0-32BD-C645-CEE77D8654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81027" y="5566555"/>
            <a:ext cx="2741472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fr-FR" sz="2400" noProof="0" dirty="0">
                <a:solidFill>
                  <a:prstClr val="black"/>
                </a:solidFill>
              </a:rPr>
              <a:t>Processing SOP</a:t>
            </a:r>
            <a:endParaRPr kumimoji="0" lang="en-US" alt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0" name="Content Placeholder 3">
            <a:extLst>
              <a:ext uri="{FF2B5EF4-FFF2-40B4-BE49-F238E27FC236}">
                <a16:creationId xmlns:a16="http://schemas.microsoft.com/office/drawing/2014/main" id="{61AF80EC-C113-2388-603A-0F71072A3C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732" t="49657" r="6062" b="14242"/>
          <a:stretch/>
        </p:blipFill>
        <p:spPr>
          <a:xfrm>
            <a:off x="4734232" y="2089163"/>
            <a:ext cx="1681316" cy="30876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3AD2C0B-C64E-7327-9DAA-1F768F6ED0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420" y="2083023"/>
            <a:ext cx="3235219" cy="30876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4" name="TextBox 90">
            <a:extLst>
              <a:ext uri="{FF2B5EF4-FFF2-40B4-BE49-F238E27FC236}">
                <a16:creationId xmlns:a16="http://schemas.microsoft.com/office/drawing/2014/main" id="{31024BE8-295E-8854-4CD0-0B70B7504B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38678" y="5570807"/>
            <a:ext cx="2741471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5 Pasture </a:t>
            </a:r>
            <a:r>
              <a:rPr lang="en-US" altLang="fr-FR" sz="2400" dirty="0">
                <a:solidFill>
                  <a:prstClr val="black"/>
                </a:solidFill>
              </a:rPr>
              <a:t>P</a:t>
            </a:r>
            <a:r>
              <a:rPr kumimoji="0" lang="en-US" altLang="fr-FR" sz="24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pettes</a:t>
            </a:r>
            <a:r>
              <a:rPr kumimoji="0" lang="en-US" altLang="fr-FR" sz="2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en-US" alt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6C24364-A7B6-E4B7-8A8D-27384BD9F4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2769" y="2066893"/>
            <a:ext cx="4983891" cy="308768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33508698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1463D-40C0-68F1-116D-4960EC5605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00">
            <a:extLst>
              <a:ext uri="{FF2B5EF4-FFF2-40B4-BE49-F238E27FC236}">
                <a16:creationId xmlns:a16="http://schemas.microsoft.com/office/drawing/2014/main" id="{685B8019-6947-592A-491E-E6E109353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78471" y="5813085"/>
            <a:ext cx="3473555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2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Result </a:t>
            </a:r>
            <a:r>
              <a:rPr lang="en-US" altLang="fr-FR" sz="2400" dirty="0">
                <a:solidFill>
                  <a:prstClr val="black"/>
                </a:solidFill>
              </a:rPr>
              <a:t>R</a:t>
            </a:r>
            <a:r>
              <a:rPr kumimoji="0" lang="en-US" altLang="fr-FR" sz="2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eporting </a:t>
            </a:r>
            <a:r>
              <a:rPr lang="en-US" altLang="fr-FR" sz="2400" dirty="0">
                <a:solidFill>
                  <a:prstClr val="black"/>
                </a:solidFill>
              </a:rPr>
              <a:t>F</a:t>
            </a:r>
            <a:r>
              <a:rPr kumimoji="0" lang="en-US" altLang="fr-FR" sz="2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m </a:t>
            </a:r>
            <a:endParaRPr kumimoji="0" lang="en-US" alt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35471E-641C-5DAD-74E6-10E81284DD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737" y="1967777"/>
            <a:ext cx="5487024" cy="353990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0389854-0614-B55C-9398-DFD4E9472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3241" y="1967777"/>
            <a:ext cx="5152515" cy="3539909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9" name="TextBox 100">
            <a:extLst>
              <a:ext uri="{FF2B5EF4-FFF2-40B4-BE49-F238E27FC236}">
                <a16:creationId xmlns:a16="http://schemas.microsoft.com/office/drawing/2014/main" id="{0EC527C9-E354-2C14-CB2B-491C7316E9A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2504" y="5809897"/>
            <a:ext cx="3473555" cy="461665"/>
          </a:xfrm>
          <a:prstGeom prst="rect">
            <a:avLst/>
          </a:prstGeom>
          <a:solidFill>
            <a:srgbClr val="FFFF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2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Feedback </a:t>
            </a:r>
            <a:r>
              <a:rPr lang="en-US" altLang="fr-FR" sz="2400" dirty="0">
                <a:solidFill>
                  <a:prstClr val="black"/>
                </a:solidFill>
              </a:rPr>
              <a:t>F</a:t>
            </a:r>
            <a:r>
              <a:rPr kumimoji="0" lang="en-US" altLang="fr-FR" sz="2400" b="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orm </a:t>
            </a:r>
            <a:endParaRPr kumimoji="0" lang="en-US" altLang="fr-FR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915079-B212-1B32-5A2F-B29604C23EDA}"/>
              </a:ext>
            </a:extLst>
          </p:cNvPr>
          <p:cNvSpPr txBox="1"/>
          <p:nvPr/>
        </p:nvSpPr>
        <p:spPr>
          <a:xfrm>
            <a:off x="1080530" y="275138"/>
            <a:ext cx="9715289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Components of mWRD EQA package</a:t>
            </a:r>
          </a:p>
        </p:txBody>
      </p:sp>
    </p:spTree>
    <p:extLst>
      <p:ext uri="{BB962C8B-B14F-4D97-AF65-F5344CB8AC3E}">
        <p14:creationId xmlns:p14="http://schemas.microsoft.com/office/powerpoint/2010/main" val="20154663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838E05-9D04-F0E3-B2B5-068A3C415F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2D86A99-CEF1-28DA-3E9C-B86572EB934F}"/>
              </a:ext>
            </a:extLst>
          </p:cNvPr>
          <p:cNvSpPr txBox="1"/>
          <p:nvPr/>
        </p:nvSpPr>
        <p:spPr>
          <a:xfrm>
            <a:off x="1080530" y="275138"/>
            <a:ext cx="9095857" cy="800219"/>
          </a:xfrm>
          <a:prstGeom prst="rect">
            <a:avLst/>
          </a:prstGeom>
          <a:noFill/>
        </p:spPr>
        <p:txBody>
          <a:bodyPr wrap="square" tIns="91440" bIns="91440" rtlCol="0">
            <a:spAutoFit/>
          </a:bodyPr>
          <a:lstStyle/>
          <a:p>
            <a:pPr algn="ctr"/>
            <a:r>
              <a:rPr lang="en-US" sz="4000" b="1" dirty="0">
                <a:solidFill>
                  <a:schemeClr val="accent1"/>
                </a:solidFill>
              </a:rPr>
              <a:t>EQA implementation cycle</a:t>
            </a:r>
          </a:p>
        </p:txBody>
      </p:sp>
      <p:graphicFrame>
        <p:nvGraphicFramePr>
          <p:cNvPr id="2" name="Content Placeholder 7">
            <a:extLst>
              <a:ext uri="{FF2B5EF4-FFF2-40B4-BE49-F238E27FC236}">
                <a16:creationId xmlns:a16="http://schemas.microsoft.com/office/drawing/2014/main" id="{C93F327F-6469-3974-FCCB-3091FC620096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24084047"/>
              </p:ext>
            </p:extLst>
          </p:nvPr>
        </p:nvGraphicFramePr>
        <p:xfrm>
          <a:off x="794322" y="1075357"/>
          <a:ext cx="10542372" cy="54889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998382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EE4P_MASTERWIZARD_MARGINS" val="0"/>
  <p:tag name="EE4P_STYLE_ID" val="KwuiTUo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oMydtSgFos7l78lxWp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*FIND template*">
  <a:themeElements>
    <a:clrScheme name="*FIND template*">
      <a:dk1>
        <a:srgbClr val="000000"/>
      </a:dk1>
      <a:lt1>
        <a:srgbClr val="FFFFFF"/>
      </a:lt1>
      <a:dk2>
        <a:srgbClr val="43ABB6"/>
      </a:dk2>
      <a:lt2>
        <a:srgbClr val="8C9EAB"/>
      </a:lt2>
      <a:accent1>
        <a:srgbClr val="5A2259"/>
      </a:accent1>
      <a:accent2>
        <a:srgbClr val="43ABB6"/>
      </a:accent2>
      <a:accent3>
        <a:srgbClr val="D3553F"/>
      </a:accent3>
      <a:accent4>
        <a:srgbClr val="8C9EAB"/>
      </a:accent4>
      <a:accent5>
        <a:srgbClr val="B785B7"/>
      </a:accent5>
      <a:accent6>
        <a:srgbClr val="4C5B68"/>
      </a:accent6>
      <a:hlink>
        <a:srgbClr val="8B518B"/>
      </a:hlink>
      <a:folHlink>
        <a:srgbClr val="B785B7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5A2259"/>
        </a:solidFill>
        <a:ln w="9525">
          <a:noFill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7F7F7F"/>
          </a:solidFill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1440" bIns="91440" rtlCol="0">
        <a:spAutoFit/>
      </a:bodyPr>
      <a:lstStyle>
        <a:defPPr>
          <a:defRPr sz="1400" dirty="0" smtClean="0">
            <a:solidFill>
              <a:srgbClr val="000000"/>
            </a:solidFill>
          </a:defRPr>
        </a:defPPr>
      </a:lstStyle>
    </a:txDef>
  </a:objectDefaults>
  <a:extraClrSchemeLst>
    <a:extraClrScheme>
      <a:clrScheme name="FIND 2017 - 07-2017">
        <a:dk1>
          <a:srgbClr val="000000"/>
        </a:dk1>
        <a:lt1>
          <a:srgbClr val="FFFFFF"/>
        </a:lt1>
        <a:dk2>
          <a:srgbClr val="43ABB6"/>
        </a:dk2>
        <a:lt2>
          <a:srgbClr val="8C9EAB"/>
        </a:lt2>
        <a:accent1>
          <a:srgbClr val="EEF1F2"/>
        </a:accent1>
        <a:accent2>
          <a:srgbClr val="D3F4F7"/>
        </a:accent2>
        <a:accent3>
          <a:srgbClr val="C5CED5"/>
        </a:accent3>
        <a:accent4>
          <a:srgbClr val="4C5B68"/>
        </a:accent4>
        <a:accent5>
          <a:srgbClr val="B785B7"/>
        </a:accent5>
        <a:accent6>
          <a:srgbClr val="5A2259"/>
        </a:accent6>
        <a:hlink>
          <a:srgbClr val="8B518B"/>
        </a:hlink>
        <a:folHlink>
          <a:srgbClr val="B785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Teal">
      <a:srgbClr val="43ABB6"/>
    </a:custClr>
    <a:custClr name="White">
      <a:srgbClr val="FFFFFF"/>
    </a:custClr>
    <a:custClr name="Black">
      <a:srgbClr val="000000"/>
    </a:custClr>
    <a:custClr name="Light Teal">
      <a:srgbClr val="D3F4F7"/>
    </a:custClr>
    <a:custClr name="Medium Teal">
      <a:srgbClr val="8ED5DC"/>
    </a:custClr>
    <a:custClr name="Dark Teal">
      <a:srgbClr val="307C84"/>
    </a:custClr>
    <a:custClr name="Light Gray">
      <a:srgbClr val="EEF1F2"/>
    </a:custClr>
    <a:custClr name="Medium Gray">
      <a:srgbClr val="C5CED5"/>
    </a:custClr>
    <a:custClr name="Gray">
      <a:srgbClr val="8C9EAB"/>
    </a:custClr>
    <a:custClr name="Dark Gray">
      <a:srgbClr val="4C5B68"/>
    </a:custClr>
    <a:custClr name="Light Purple">
      <a:srgbClr val="F2D6F2"/>
    </a:custClr>
    <a:custClr name="Medium Purple">
      <a:srgbClr val="B785B7"/>
    </a:custClr>
    <a:custClr name="Purple">
      <a:srgbClr val="8B518B"/>
    </a:custClr>
    <a:custClr name="Dark Purple">
      <a:srgbClr val="5A2259"/>
    </a:custClr>
    <a:custClr name="Light Orange">
      <a:srgbClr val="FFE6AF"/>
    </a:custClr>
    <a:custClr name="Medium Orange">
      <a:srgbClr val="FDC569"/>
    </a:custClr>
    <a:custClr name="Orange">
      <a:srgbClr val="F79646"/>
    </a:custClr>
    <a:custClr name="Dark Orange">
      <a:srgbClr val="D3553F"/>
    </a:custClr>
    <a:custClr name="Light Green">
      <a:srgbClr val="DEEFCD"/>
    </a:custClr>
    <a:custClr name="Medium Green">
      <a:srgbClr val="A3C87E"/>
    </a:custClr>
    <a:custClr name="Green">
      <a:srgbClr val="669735"/>
    </a:custClr>
    <a:custClr name="Dark Green">
      <a:srgbClr val="3B680E"/>
    </a:custClr>
    <a:custClr name="Light Blue">
      <a:srgbClr val="D8E7F8"/>
    </a:custClr>
    <a:custClr name="Medium Blue">
      <a:srgbClr val="95BADF"/>
    </a:custClr>
    <a:custClr name="Blue">
      <a:srgbClr val="4580BB"/>
    </a:custClr>
    <a:custClr name="Dark Blue">
      <a:srgbClr val="2F5E8D"/>
    </a:custClr>
    <a:custClr name="Light Brown">
      <a:srgbClr val="F0DCC8"/>
    </a:custClr>
    <a:custClr name="Medium Brown">
      <a:srgbClr val="C89D72"/>
    </a:custClr>
    <a:custClr name="Brown">
      <a:srgbClr val="8F6235"/>
    </a:custClr>
    <a:custClr name="Dark Brown">
      <a:srgbClr val="5F3913"/>
    </a:custClr>
    <a:custClr name="Accent Yellow">
      <a:srgbClr val="FEEC00"/>
    </a:custClr>
    <a:custClr name="Accent Orange">
      <a:srgbClr val="DC6E00"/>
    </a:custClr>
    <a:custClr name="Accent Bright Red">
      <a:srgbClr val="FF0000"/>
    </a:custClr>
    <a:custClr name="Accent Red">
      <a:srgbClr val="C41300"/>
    </a:custClr>
    <a:custClr name="Accent Green">
      <a:srgbClr val="06C245"/>
    </a:custClr>
    <a:custClr name="Accent Blue">
      <a:srgbClr val="008FC8"/>
    </a:custClr>
    <a:custClr name="Accent Violet">
      <a:srgbClr val="CC0099"/>
    </a:custClr>
  </a:custClrLst>
  <a:extLst>
    <a:ext uri="{05A4C25C-085E-4340-85A3-A5531E510DB2}">
      <thm15:themeFamily xmlns:thm15="http://schemas.microsoft.com/office/thememl/2012/main" name="blank.potx" id="{AB4EB1FF-5992-4542-87C8-4624D2AD5E3A}" vid="{86B8886F-6CF6-40DE-BCD3-1A25D72C45F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1bbd72-f46e-43f3-8f72-2623deb0c047">
      <UserInfo>
        <DisplayName/>
        <AccountId xsi:nil="true"/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E9EF62B87021448D745F43C4B11C16" ma:contentTypeVersion="15" ma:contentTypeDescription="Create a new document." ma:contentTypeScope="" ma:versionID="57fe97b00d2a8810b6fa50ee1ce191fd">
  <xsd:schema xmlns:xsd="http://www.w3.org/2001/XMLSchema" xmlns:xs="http://www.w3.org/2001/XMLSchema" xmlns:p="http://schemas.microsoft.com/office/2006/metadata/properties" xmlns:ns2="5a1bbd72-f46e-43f3-8f72-2623deb0c047" xmlns:ns3="10c4dcad-8d39-4939-b489-2456ead71196" targetNamespace="http://schemas.microsoft.com/office/2006/metadata/properties" ma:root="true" ma:fieldsID="1bf4807efc55adc60f81b37488c3aad2" ns2:_="" ns3:_="">
    <xsd:import namespace="5a1bbd72-f46e-43f3-8f72-2623deb0c047"/>
    <xsd:import namespace="10c4dcad-8d39-4939-b489-2456ead71196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1bbd72-f46e-43f3-8f72-2623deb0c04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list="UserInfo" ma:SearchPeopleOnly="false" ma:internalName="SharedWithUsers" ma:readOnly="fals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4dcad-8d39-4939-b489-2456ead71196" elementFormDefault="qualified">
    <xsd:import namespace="http://schemas.microsoft.com/office/2006/documentManagement/types"/>
    <xsd:import namespace="http://schemas.microsoft.com/office/infopath/2007/PartnerControls"/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F185EE-9726-4FAC-8A8C-F4FF7EEB7FA7}">
  <ds:schemaRefs>
    <ds:schemaRef ds:uri="http://schemas.microsoft.com/office/2006/documentManagement/types"/>
    <ds:schemaRef ds:uri="http://schemas.microsoft.com/office/infopath/2007/PartnerControls"/>
    <ds:schemaRef ds:uri="92297be3-05ad-4194-8456-bf53b0948fb2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5a1bbd72-f46e-43f3-8f72-2623deb0c047"/>
  </ds:schemaRefs>
</ds:datastoreItem>
</file>

<file path=customXml/itemProps2.xml><?xml version="1.0" encoding="utf-8"?>
<ds:datastoreItem xmlns:ds="http://schemas.openxmlformats.org/officeDocument/2006/customXml" ds:itemID="{031F6566-C4C6-47C6-8A10-BBB8BB9BEB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1bbd72-f46e-43f3-8f72-2623deb0c047"/>
    <ds:schemaRef ds:uri="10c4dcad-8d39-4939-b489-2456ead7119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FAA74BF-4E94-4EEA-8358-953389CCF68F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8277b9de-ec8d-46a4-9b63-4b30e2b6c9a1}" enabled="0" method="" siteId="{8277b9de-ec8d-46a4-9b63-4b30e2b6c9a1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11103</TotalTime>
  <Words>512</Words>
  <Application>Microsoft Office PowerPoint</Application>
  <PresentationFormat>Widescreen</PresentationFormat>
  <Paragraphs>82</Paragraphs>
  <Slides>1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Franklin Gothic Book</vt:lpstr>
      <vt:lpstr>Franklin Gothic Medium</vt:lpstr>
      <vt:lpstr>inherit</vt:lpstr>
      <vt:lpstr>Trebuchet MS</vt:lpstr>
      <vt:lpstr>Vrinda</vt:lpstr>
      <vt:lpstr>Wingdings</vt:lpstr>
      <vt:lpstr>*FIND template*</vt:lpstr>
      <vt:lpstr>think-cell Slide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Genpact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iwari, Pradeep</dc:creator>
  <cp:keywords/>
  <dc:description/>
  <cp:lastModifiedBy>Shipra Bhargava</cp:lastModifiedBy>
  <cp:revision>1270</cp:revision>
  <cp:lastPrinted>2020-10-12T07:52:37Z</cp:lastPrinted>
  <dcterms:created xsi:type="dcterms:W3CDTF">2020-02-13T09:04:23Z</dcterms:created>
  <dcterms:modified xsi:type="dcterms:W3CDTF">2024-12-10T01:14:22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E9EF62B87021448D745F43C4B11C16</vt:lpwstr>
  </property>
</Properties>
</file>